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drawings/drawing2.xml" ContentType="application/vnd.openxmlformats-officedocument.drawingml.chartshape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10.xml" ContentType="application/vnd.openxmlformats-officedocument.drawingml.chart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notesSlides/notesSlide1.xml" ContentType="application/vnd.openxmlformats-officedocument.presentationml.notesSlide+xml"/>
  <Default Extension="png" ContentType="image/png"/>
  <Override PartName="/ppt/drawings/drawing3.xml" ContentType="application/vnd.openxmlformats-officedocument.drawingml.chartshap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307" r:id="rId2"/>
    <p:sldId id="315" r:id="rId3"/>
    <p:sldId id="261" r:id="rId4"/>
    <p:sldId id="266" r:id="rId5"/>
    <p:sldId id="268" r:id="rId6"/>
    <p:sldId id="264" r:id="rId7"/>
    <p:sldId id="273" r:id="rId8"/>
    <p:sldId id="276" r:id="rId9"/>
    <p:sldId id="285" r:id="rId10"/>
    <p:sldId id="313" r:id="rId11"/>
    <p:sldId id="288" r:id="rId12"/>
    <p:sldId id="305" r:id="rId13"/>
    <p:sldId id="291" r:id="rId14"/>
    <p:sldId id="258" r:id="rId15"/>
  </p:sldIdLst>
  <p:sldSz cx="12192000" cy="6858000"/>
  <p:notesSz cx="6734175" cy="98536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2F2F2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2838BEF-8BB2-4498-84A7-C5851F593DF1}" styleName="Средний стиль 4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457" autoAdjust="0"/>
    <p:restoredTop sz="95657" autoAdjust="0"/>
  </p:normalViewPr>
  <p:slideViewPr>
    <p:cSldViewPr snapToGrid="0" showGuides="1">
      <p:cViewPr>
        <p:scale>
          <a:sx n="122" d="100"/>
          <a:sy n="122" d="100"/>
        </p:scale>
        <p:origin x="-642" y="42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2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4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5.xlsx"/><Relationship Id="rId1" Type="http://schemas.openxmlformats.org/officeDocument/2006/relationships/themeOverride" Target="../theme/themeOverride2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 w="38100">
              <a:solidFill>
                <a:schemeClr val="bg1"/>
              </a:solidFill>
            </a:ln>
          </c:spPr>
          <c:explosion val="25"/>
          <c:dLbls>
            <c:dLbl>
              <c:idx val="0"/>
              <c:layout>
                <c:manualLayout>
                  <c:x val="-0.16820116417349945"/>
                  <c:y val="-7.780708286919972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 b="1">
                      <a:solidFill>
                        <a:schemeClr val="bg1"/>
                      </a:solidFill>
                      <a:effectLst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16228311750773317"/>
                  <c:y val="-7.132935472870383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 b="1">
                      <a:solidFill>
                        <a:schemeClr val="bg1"/>
                      </a:solidFill>
                      <a:effectLst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7.5494378432154119E-2"/>
                  <c:y val="2.429058263817295E-2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5.1544160520221496E-2"/>
                  <c:y val="-4.0350219686424944E-2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1.1139368104807793E-3"/>
                  <c:y val="-3.9989986745367211E-2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1400" b="1">
                      <a:effectLst/>
                    </a:defRPr>
                  </a:pPr>
                  <a:endParaRPr lang="ru-RU"/>
                </a:p>
              </c:txPr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effectLst/>
                  </a:defRPr>
                </a:pPr>
                <a:endParaRPr lang="ru-RU"/>
              </a:p>
            </c:txPr>
            <c:dLblPos val="bestFit"/>
            <c:showVal val="1"/>
            <c:showCatName val="1"/>
            <c:showPercent val="1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9</c:f>
              <c:strCache>
                <c:ptCount val="8"/>
                <c:pt idx="0">
                  <c:v>АТ</c:v>
                </c:pt>
                <c:pt idx="1">
                  <c:v>БУ</c:v>
                </c:pt>
                <c:pt idx="2">
                  <c:v>АС</c:v>
                </c:pt>
                <c:pt idx="3">
                  <c:v>Проч.</c:v>
                </c:pt>
                <c:pt idx="4">
                  <c:v>Т</c:v>
                </c:pt>
                <c:pt idx="5">
                  <c:v>КП</c:v>
                </c:pt>
                <c:pt idx="6">
                  <c:v>К</c:v>
                </c:pt>
                <c:pt idx="7">
                  <c:v>Р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067</c:v>
                </c:pt>
                <c:pt idx="1">
                  <c:v>868</c:v>
                </c:pt>
                <c:pt idx="2">
                  <c:v>47</c:v>
                </c:pt>
                <c:pt idx="3">
                  <c:v>35</c:v>
                </c:pt>
                <c:pt idx="4">
                  <c:v>27</c:v>
                </c:pt>
                <c:pt idx="5">
                  <c:v>19</c:v>
                </c:pt>
                <c:pt idx="6">
                  <c:v>16</c:v>
                </c:pt>
                <c:pt idx="7">
                  <c:v>1</c:v>
                </c:pt>
              </c:numCache>
            </c:numRef>
          </c:val>
        </c:ser>
        <c:dLbls>
          <c:showVal val="1"/>
        </c:dLbls>
      </c:pie3D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 w="38100">
              <a:solidFill>
                <a:schemeClr val="bg1"/>
              </a:solidFill>
            </a:ln>
          </c:spPr>
          <c:explosion val="25"/>
          <c:dLbls>
            <c:dLbl>
              <c:idx val="0"/>
              <c:layout>
                <c:manualLayout>
                  <c:x val="-0.24873634138547859"/>
                  <c:y val="-0.1847316183779138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 b="1">
                      <a:solidFill>
                        <a:schemeClr val="bg1"/>
                      </a:solidFill>
                      <a:effectLst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14096670213431811"/>
                  <c:y val="1.761549856436574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 b="1">
                      <a:solidFill>
                        <a:schemeClr val="bg1"/>
                      </a:solidFill>
                      <a:effectLst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1.2739694890352231E-2"/>
                  <c:y val="-2.536248215221763E-2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4.0426163597012808E-2"/>
                  <c:y val="-3.9028707117509755E-2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4.5042215289742164E-2"/>
                  <c:y val="-8.1567799844090624E-3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effectLst/>
                  </a:defRPr>
                </a:pPr>
                <a:endParaRPr lang="ru-RU"/>
              </a:p>
            </c:txPr>
            <c:dLblPos val="bestFit"/>
            <c:showVal val="1"/>
            <c:showCatName val="1"/>
            <c:showPercent val="1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Излом балочки авторежима</c:v>
                </c:pt>
                <c:pt idx="1">
                  <c:v>Нетиповая балочка авторежима</c:v>
                </c:pt>
                <c:pt idx="2">
                  <c:v>Некачественное расследование</c:v>
                </c:pt>
                <c:pt idx="3">
                  <c:v>Некачественное техническое обслуживание</c:v>
                </c:pt>
                <c:pt idx="4">
                  <c:v>Опускание балочки авторежима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8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1</c:v>
                </c:pt>
              </c:numCache>
            </c:numRef>
          </c:val>
        </c:ser>
        <c:dLbls>
          <c:showVal val="1"/>
        </c:dLbls>
      </c:pie3D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 w="38100">
              <a:solidFill>
                <a:schemeClr val="bg1"/>
              </a:solidFill>
            </a:ln>
          </c:spPr>
          <c:explosion val="25"/>
          <c:dLbls>
            <c:dLbl>
              <c:idx val="0"/>
              <c:layout>
                <c:manualLayout>
                  <c:x val="-0.20899170847567064"/>
                  <c:y val="2.9648284431023207E-2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13439121368546231"/>
                  <c:y val="-0.2606222476344674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.1913001584514582"/>
                  <c:y val="4.20734476537181E-2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>
                      <a:solidFill>
                        <a:schemeClr val="tx1"/>
                      </a:solidFill>
                      <a:effectLst/>
                    </a:defRPr>
                  </a:pPr>
                  <a:endParaRPr lang="ru-RU"/>
                </a:p>
              </c:txPr>
            </c:dLbl>
            <c:dLbl>
              <c:idx val="4"/>
              <c:layout>
                <c:manualLayout>
                  <c:x val="1.4710784911204595E-2"/>
                  <c:y val="-1.718367499396619E-2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solidFill>
                      <a:schemeClr val="bg1"/>
                    </a:solidFill>
                    <a:effectLst/>
                  </a:defRPr>
                </a:pPr>
                <a:endParaRPr lang="ru-RU"/>
              </a:p>
            </c:txPr>
            <c:dLblPos val="bestFit"/>
            <c:showVal val="1"/>
            <c:showCatName val="1"/>
            <c:showPercent val="1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4"/>
                <c:pt idx="0">
                  <c:v>У манжеты и пылезащитника уплотнения расслоения, надрывы, завернута манжета</c:v>
                </c:pt>
                <c:pt idx="1">
                  <c:v>Излом пружины ТЦ</c:v>
                </c:pt>
                <c:pt idx="2">
                  <c:v>Излом витка внутренней пружины ТЦ</c:v>
                </c:pt>
                <c:pt idx="3">
                  <c:v>Отсутствие смазки в ТЦ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4</c:v>
                </c:pt>
                <c:pt idx="1">
                  <c:v>2</c:v>
                </c:pt>
                <c:pt idx="2">
                  <c:v>2</c:v>
                </c:pt>
                <c:pt idx="3">
                  <c:v>1</c:v>
                </c:pt>
              </c:numCache>
            </c:numRef>
          </c:val>
        </c:ser>
        <c:dLbls>
          <c:showVal val="1"/>
        </c:dLbls>
      </c:pie3D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 w="38100">
              <a:solidFill>
                <a:schemeClr val="bg1"/>
              </a:solidFill>
            </a:ln>
          </c:spPr>
          <c:explosion val="25"/>
          <c:dLbls>
            <c:dLbl>
              <c:idx val="0"/>
              <c:layout>
                <c:manualLayout>
                  <c:x val="-0.22049673379166768"/>
                  <c:y val="4.30666921188179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>
                      <a:solidFill>
                        <a:schemeClr val="bg1"/>
                      </a:solidFill>
                      <a:effectLst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9.8086723349024747E-3"/>
                  <c:y val="-0.2367080599337106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>
                      <a:solidFill>
                        <a:schemeClr val="bg1"/>
                      </a:solidFill>
                      <a:effectLst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.16401933041905636"/>
                  <c:y val="-0.2139015077167248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>
                      <a:solidFill>
                        <a:schemeClr val="bg1"/>
                      </a:solidFill>
                      <a:effectLst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1.4710784911204595E-2"/>
                  <c:y val="-1.718367499396619E-2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effectLst/>
                  </a:defRPr>
                </a:pPr>
                <a:endParaRPr lang="ru-RU"/>
              </a:p>
            </c:txPr>
            <c:dLblPos val="bestFit"/>
            <c:showVal val="1"/>
            <c:showCatName val="1"/>
            <c:showPercent val="1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Трещина в месте соединения подводящей трубки к запасному резервуару</c:v>
                </c:pt>
                <c:pt idx="1">
                  <c:v>Трещина запасного резервуара по сварному шву в месте крепления штуцера к запасному резервуару</c:v>
                </c:pt>
                <c:pt idx="2">
                  <c:v>Резьбовая часть трубки имеет ослабление в зоне штуцера запасного резервуара</c:v>
                </c:pt>
                <c:pt idx="3">
                  <c:v>Человеческий фактор</c:v>
                </c:pt>
                <c:pt idx="4">
                  <c:v>Нарушение технологии сборки и обслуживания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</c:ser>
        <c:dLbls>
          <c:showVal val="1"/>
        </c:dLbls>
      </c:pie3D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 w="38100">
              <a:solidFill>
                <a:schemeClr val="bg1"/>
              </a:solidFill>
            </a:ln>
          </c:spPr>
          <c:explosion val="25"/>
          <c:dLbls>
            <c:dLbl>
              <c:idx val="0"/>
              <c:layout>
                <c:manualLayout>
                  <c:x val="-0.20899170847567064"/>
                  <c:y val="-0.1006134555084482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 b="1">
                      <a:solidFill>
                        <a:schemeClr val="bg1"/>
                      </a:solidFill>
                      <a:effectLst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16886157074478772"/>
                  <c:y val="-0.260622247634467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 b="1">
                      <a:solidFill>
                        <a:schemeClr val="bg1"/>
                      </a:solidFill>
                      <a:effectLst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2.9488936398704532E-3"/>
                  <c:y val="-2.5561095129690149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 b="1">
                      <a:solidFill>
                        <a:schemeClr val="tx1"/>
                      </a:solidFill>
                      <a:effectLst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9.3108596897513871E-2"/>
                  <c:y val="-5.120659179591925E-2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0.18819602520728815"/>
                  <c:y val="-3.1550371824684002E-2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0.10243310284850263"/>
                  <c:y val="-4.7393078966257163E-2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3.7849721474619777E-2"/>
                  <c:y val="-4.4852053983222784E-2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0.15341205944070929"/>
                  <c:y val="-4.2001257403316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 b="1">
                      <a:solidFill>
                        <a:schemeClr val="tx1"/>
                      </a:solidFill>
                      <a:effectLst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0.12571574928433299"/>
                  <c:y val="1.045339966695513E-2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effectLst/>
                  </a:defRPr>
                </a:pPr>
                <a:endParaRPr lang="ru-RU"/>
              </a:p>
            </c:txPr>
            <c:dLblPos val="bestFit"/>
            <c:showVal val="1"/>
            <c:showCatName val="1"/>
            <c:showPercent val="1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10</c:f>
              <c:strCache>
                <c:ptCount val="9"/>
                <c:pt idx="0">
                  <c:v>Воздухораспределитель</c:v>
                </c:pt>
                <c:pt idx="1">
                  <c:v>Тормозная магистраль</c:v>
                </c:pt>
                <c:pt idx="2">
                  <c:v>Арматура тормозного оборудования</c:v>
                </c:pt>
                <c:pt idx="3">
                  <c:v>Рычажная передача </c:v>
                </c:pt>
                <c:pt idx="4">
                  <c:v>Тормозное подвешивание </c:v>
                </c:pt>
                <c:pt idx="5">
                  <c:v>Авторежим </c:v>
                </c:pt>
                <c:pt idx="6">
                  <c:v>Тормозной цилиндр</c:v>
                </c:pt>
                <c:pt idx="7">
                  <c:v>Резервуары </c:v>
                </c:pt>
                <c:pt idx="8">
                  <c:v>Прочие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547</c:v>
                </c:pt>
                <c:pt idx="1">
                  <c:v>235</c:v>
                </c:pt>
                <c:pt idx="2">
                  <c:v>97</c:v>
                </c:pt>
                <c:pt idx="3">
                  <c:v>80</c:v>
                </c:pt>
                <c:pt idx="4">
                  <c:v>63</c:v>
                </c:pt>
                <c:pt idx="5">
                  <c:v>25</c:v>
                </c:pt>
                <c:pt idx="6">
                  <c:v>9</c:v>
                </c:pt>
                <c:pt idx="7">
                  <c:v>7</c:v>
                </c:pt>
                <c:pt idx="8">
                  <c:v>4</c:v>
                </c:pt>
              </c:numCache>
            </c:numRef>
          </c:val>
        </c:ser>
        <c:dLbls>
          <c:showVal val="1"/>
        </c:dLbls>
      </c:pie3D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rotX val="5"/>
      <c:rotY val="0"/>
      <c:depthPercent val="100"/>
      <c:perspective val="0"/>
    </c:view3D>
    <c:floor>
      <c:spPr>
        <a:scene3d>
          <a:camera prst="orthographicFront"/>
          <a:lightRig rig="threePt" dir="t"/>
        </a:scene3d>
        <a:sp3d>
          <a:contourClr>
            <a:srgbClr val="000000"/>
          </a:contourClr>
        </a:sp3d>
      </c:spPr>
    </c:floor>
    <c:sideWall>
      <c:spPr>
        <a:ln w="3175"/>
      </c:spPr>
    </c:sideWall>
    <c:backWall>
      <c:spPr>
        <a:ln w="3175"/>
      </c:spPr>
    </c:backWall>
    <c:plotArea>
      <c:layout>
        <c:manualLayout>
          <c:layoutTarget val="inner"/>
          <c:xMode val="edge"/>
          <c:yMode val="edge"/>
          <c:x val="0"/>
          <c:y val="8.4621621800337513E-2"/>
          <c:w val="1"/>
          <c:h val="0.61439077625787875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8 г. - 1111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Воздухораспределитель</c:v>
                </c:pt>
                <c:pt idx="1">
                  <c:v>Тормозная магистраль</c:v>
                </c:pt>
                <c:pt idx="2">
                  <c:v>Арматура тормозного оборудования</c:v>
                </c:pt>
                <c:pt idx="3">
                  <c:v>Рычажная передача </c:v>
                </c:pt>
                <c:pt idx="4">
                  <c:v>Тормозное подвешивание </c:v>
                </c:pt>
                <c:pt idx="5">
                  <c:v>Авторежим </c:v>
                </c:pt>
                <c:pt idx="6">
                  <c:v>Тормозной цилиндр</c:v>
                </c:pt>
                <c:pt idx="7">
                  <c:v>Резервуары </c:v>
                </c:pt>
                <c:pt idx="8">
                  <c:v>Прочие</c:v>
                </c:pt>
              </c:strCache>
            </c:strRef>
          </c:cat>
          <c:val>
            <c:numRef>
              <c:f>Лист1!$B$2:$B$10</c:f>
              <c:numCache>
                <c:formatCode>0</c:formatCode>
                <c:ptCount val="9"/>
                <c:pt idx="0">
                  <c:v>523</c:v>
                </c:pt>
                <c:pt idx="1">
                  <c:v>351</c:v>
                </c:pt>
                <c:pt idx="2">
                  <c:v>64</c:v>
                </c:pt>
                <c:pt idx="3">
                  <c:v>59</c:v>
                </c:pt>
                <c:pt idx="4">
                  <c:v>71</c:v>
                </c:pt>
                <c:pt idx="5">
                  <c:v>27</c:v>
                </c:pt>
                <c:pt idx="6">
                  <c:v>6</c:v>
                </c:pt>
                <c:pt idx="7">
                  <c:v>4</c:v>
                </c:pt>
                <c:pt idx="8">
                  <c:v>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CAA-46F1-8C14-FD2D717E43E7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9 г. - 1067</c:v>
                </c:pt>
              </c:strCache>
            </c:strRef>
          </c:tx>
          <c:spPr>
            <a:solidFill>
              <a:schemeClr val="accent2"/>
            </a:solidFill>
          </c:spP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Воздухораспределитель</c:v>
                </c:pt>
                <c:pt idx="1">
                  <c:v>Тормозная магистраль</c:v>
                </c:pt>
                <c:pt idx="2">
                  <c:v>Арматура тормозного оборудования</c:v>
                </c:pt>
                <c:pt idx="3">
                  <c:v>Рычажная передача </c:v>
                </c:pt>
                <c:pt idx="4">
                  <c:v>Тормозное подвешивание </c:v>
                </c:pt>
                <c:pt idx="5">
                  <c:v>Авторежим </c:v>
                </c:pt>
                <c:pt idx="6">
                  <c:v>Тормозной цилиндр</c:v>
                </c:pt>
                <c:pt idx="7">
                  <c:v>Резервуары </c:v>
                </c:pt>
                <c:pt idx="8">
                  <c:v>Прочие</c:v>
                </c:pt>
              </c:strCache>
            </c:strRef>
          </c:cat>
          <c:val>
            <c:numRef>
              <c:f>Лист1!$C$2:$C$10</c:f>
              <c:numCache>
                <c:formatCode>0</c:formatCode>
                <c:ptCount val="9"/>
                <c:pt idx="0">
                  <c:v>547</c:v>
                </c:pt>
                <c:pt idx="1">
                  <c:v>235</c:v>
                </c:pt>
                <c:pt idx="2">
                  <c:v>97</c:v>
                </c:pt>
                <c:pt idx="3">
                  <c:v>80</c:v>
                </c:pt>
                <c:pt idx="4">
                  <c:v>63</c:v>
                </c:pt>
                <c:pt idx="5">
                  <c:v>25</c:v>
                </c:pt>
                <c:pt idx="6">
                  <c:v>9</c:v>
                </c:pt>
                <c:pt idx="7">
                  <c:v>7</c:v>
                </c:pt>
                <c:pt idx="8">
                  <c:v>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7CAA-46F1-8C14-FD2D717E43E7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3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10</c:f>
              <c:strCache>
                <c:ptCount val="9"/>
                <c:pt idx="0">
                  <c:v>Воздухораспределитель</c:v>
                </c:pt>
                <c:pt idx="1">
                  <c:v>Тормозная магистраль</c:v>
                </c:pt>
                <c:pt idx="2">
                  <c:v>Арматура тормозного оборудования</c:v>
                </c:pt>
                <c:pt idx="3">
                  <c:v>Рычажная передача </c:v>
                </c:pt>
                <c:pt idx="4">
                  <c:v>Тормозное подвешивание </c:v>
                </c:pt>
                <c:pt idx="5">
                  <c:v>Авторежим </c:v>
                </c:pt>
                <c:pt idx="6">
                  <c:v>Тормозной цилиндр</c:v>
                </c:pt>
                <c:pt idx="7">
                  <c:v>Резервуары </c:v>
                </c:pt>
                <c:pt idx="8">
                  <c:v>Прочие</c:v>
                </c:pt>
              </c:strCache>
            </c:strRef>
          </c:cat>
          <c:val>
            <c:numRef>
              <c:f>Лист1!$D$2:$D$10</c:f>
              <c:numCache>
                <c:formatCode>General</c:formatCode>
                <c:ptCount val="9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D-7CAA-46F1-8C14-FD2D717E43E7}"/>
            </c:ext>
          </c:extLst>
        </c:ser>
        <c:dLbls>
          <c:showVal val="1"/>
        </c:dLbls>
        <c:gapWidth val="41"/>
        <c:shape val="cylinder"/>
        <c:axId val="86948096"/>
        <c:axId val="87257088"/>
        <c:axId val="0"/>
      </c:bar3DChart>
      <c:catAx>
        <c:axId val="86948096"/>
        <c:scaling>
          <c:orientation val="minMax"/>
        </c:scaling>
        <c:axPos val="b"/>
        <c:numFmt formatCode="\О\с\н\о\в\н\о\й" sourceLinked="0"/>
        <c:tickLblPos val="nextTo"/>
        <c:txPr>
          <a:bodyPr rot="-5400000" vert="horz"/>
          <a:lstStyle/>
          <a:p>
            <a:pPr>
              <a:defRPr sz="1050" b="1"/>
            </a:pPr>
            <a:endParaRPr lang="ru-RU"/>
          </a:p>
        </c:txPr>
        <c:crossAx val="87257088"/>
        <c:crosses val="autoZero"/>
        <c:auto val="1"/>
        <c:lblAlgn val="ctr"/>
        <c:lblOffset val="100"/>
      </c:catAx>
      <c:valAx>
        <c:axId val="87257088"/>
        <c:scaling>
          <c:orientation val="minMax"/>
        </c:scaling>
        <c:delete val="1"/>
        <c:axPos val="l"/>
        <c:majorGridlines>
          <c:spPr>
            <a:ln>
              <a:solidFill>
                <a:schemeClr val="accent1">
                  <a:lumMod val="20000"/>
                  <a:lumOff val="80000"/>
                </a:schemeClr>
              </a:solidFill>
            </a:ln>
          </c:spPr>
        </c:majorGridlines>
        <c:numFmt formatCode="0" sourceLinked="1"/>
        <c:tickLblPos val="none"/>
        <c:crossAx val="86948096"/>
        <c:crosses val="autoZero"/>
        <c:crossBetween val="between"/>
      </c:valAx>
      <c:spPr>
        <a:noFill/>
        <a:ln w="25403">
          <a:noFill/>
        </a:ln>
      </c:spPr>
    </c:plotArea>
    <c:legend>
      <c:legendPos val="r"/>
      <c:layout>
        <c:manualLayout>
          <c:xMode val="edge"/>
          <c:yMode val="edge"/>
          <c:x val="0.85002970931206412"/>
          <c:y val="1.6359653598542808E-3"/>
          <c:w val="0.13327754297211908"/>
          <c:h val="0.12062679955742797"/>
        </c:manualLayout>
      </c:layout>
      <c:txPr>
        <a:bodyPr/>
        <a:lstStyle/>
        <a:p>
          <a:pPr>
            <a:defRPr b="1"/>
          </a:pPr>
          <a:endParaRPr lang="ru-RU"/>
        </a:p>
      </c:txPr>
    </c:legend>
    <c:plotVisOnly val="1"/>
    <c:dispBlanksAs val="gap"/>
  </c:chart>
  <c:txPr>
    <a:bodyPr/>
    <a:lstStyle/>
    <a:p>
      <a:pPr>
        <a:defRPr sz="1797"/>
      </a:pPr>
      <a:endParaRPr lang="ru-RU"/>
    </a:p>
  </c:txPr>
  <c:externalData r:id="rId1"/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0"/>
      <c:rotY val="150"/>
      <c:depthPercent val="180"/>
      <c:rAngAx val="1"/>
    </c:view3D>
    <c:plotArea>
      <c:layout>
        <c:manualLayout>
          <c:layoutTarget val="inner"/>
          <c:xMode val="edge"/>
          <c:yMode val="edge"/>
          <c:x val="2.7777777777777796E-3"/>
          <c:y val="1.2089278233893995E-3"/>
          <c:w val="0.94444444444444453"/>
          <c:h val="0.90258116948926759"/>
        </c:manualLayout>
      </c:layout>
      <c:pie3DChart>
        <c:varyColors val="1"/>
        <c:dLbls>
          <c:showCatName val="1"/>
          <c:showPercent val="1"/>
        </c:dLbls>
      </c:pie3DChart>
      <c:spPr>
        <a:effectLst/>
      </c:spPr>
    </c:plotArea>
    <c:plotVisOnly val="1"/>
    <c:dispBlanksAs val="zero"/>
  </c:chart>
  <c:spPr>
    <a:ln cap="rnd"/>
    <a:effectLst>
      <a:softEdge rad="0"/>
    </a:effectLst>
    <a:scene3d>
      <a:camera prst="orthographicFront"/>
      <a:lightRig rig="chilly" dir="t"/>
    </a:scene3d>
  </c:spPr>
  <c:externalData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4643360775784697E-2"/>
          <c:y val="1.5624952748338111E-2"/>
          <c:w val="0.93535668689502949"/>
          <c:h val="0.6247610874342624"/>
        </c:manualLayout>
      </c:layout>
      <c:bar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ВР</c:v>
                </c:pt>
              </c:strCache>
            </c:strRef>
          </c:tx>
          <c:cat>
            <c:strRef>
              <c:f>Лист1!$A$2:$A$17</c:f>
              <c:strCache>
                <c:ptCount val="16"/>
                <c:pt idx="0">
                  <c:v>ЗСБ</c:v>
                </c:pt>
                <c:pt idx="1">
                  <c:v>ДВС</c:v>
                </c:pt>
                <c:pt idx="2">
                  <c:v>ЗАБ</c:v>
                </c:pt>
                <c:pt idx="3">
                  <c:v>КБШ</c:v>
                </c:pt>
                <c:pt idx="4">
                  <c:v>ЮУР</c:v>
                </c:pt>
                <c:pt idx="5">
                  <c:v>ОКТ</c:v>
                </c:pt>
                <c:pt idx="6">
                  <c:v>ВСБ</c:v>
                </c:pt>
                <c:pt idx="7">
                  <c:v>ПРВ</c:v>
                </c:pt>
                <c:pt idx="8">
                  <c:v>СЕВ</c:v>
                </c:pt>
                <c:pt idx="9">
                  <c:v>СКВ</c:v>
                </c:pt>
                <c:pt idx="10">
                  <c:v>СВР</c:v>
                </c:pt>
                <c:pt idx="11">
                  <c:v>ГОР</c:v>
                </c:pt>
                <c:pt idx="12">
                  <c:v>МСК</c:v>
                </c:pt>
                <c:pt idx="13">
                  <c:v>КРС</c:v>
                </c:pt>
                <c:pt idx="14">
                  <c:v>ЮВС</c:v>
                </c:pt>
                <c:pt idx="15">
                  <c:v>КЛГ</c:v>
                </c:pt>
              </c:strCache>
            </c:strRef>
          </c:cat>
          <c:val>
            <c:numRef>
              <c:f>Лист1!$B$2:$B$17</c:f>
              <c:numCache>
                <c:formatCode>General</c:formatCode>
                <c:ptCount val="16"/>
                <c:pt idx="0">
                  <c:v>86</c:v>
                </c:pt>
                <c:pt idx="1">
                  <c:v>64</c:v>
                </c:pt>
                <c:pt idx="2">
                  <c:v>42</c:v>
                </c:pt>
                <c:pt idx="3">
                  <c:v>63</c:v>
                </c:pt>
                <c:pt idx="4">
                  <c:v>40</c:v>
                </c:pt>
                <c:pt idx="5">
                  <c:v>39</c:v>
                </c:pt>
                <c:pt idx="6">
                  <c:v>23</c:v>
                </c:pt>
                <c:pt idx="7">
                  <c:v>30</c:v>
                </c:pt>
                <c:pt idx="8">
                  <c:v>30</c:v>
                </c:pt>
                <c:pt idx="9">
                  <c:v>34</c:v>
                </c:pt>
                <c:pt idx="10">
                  <c:v>20</c:v>
                </c:pt>
                <c:pt idx="11">
                  <c:v>25</c:v>
                </c:pt>
                <c:pt idx="12">
                  <c:v>24</c:v>
                </c:pt>
                <c:pt idx="13">
                  <c:v>10</c:v>
                </c:pt>
                <c:pt idx="14">
                  <c:v>16</c:v>
                </c:pt>
                <c:pt idx="15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B8C-4A04-AEBE-D0A31EF6EA62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ТМ</c:v>
                </c:pt>
              </c:strCache>
            </c:strRef>
          </c:tx>
          <c:cat>
            <c:strRef>
              <c:f>Лист1!$A$2:$A$17</c:f>
              <c:strCache>
                <c:ptCount val="16"/>
                <c:pt idx="0">
                  <c:v>ЗСБ</c:v>
                </c:pt>
                <c:pt idx="1">
                  <c:v>ДВС</c:v>
                </c:pt>
                <c:pt idx="2">
                  <c:v>ЗАБ</c:v>
                </c:pt>
                <c:pt idx="3">
                  <c:v>КБШ</c:v>
                </c:pt>
                <c:pt idx="4">
                  <c:v>ЮУР</c:v>
                </c:pt>
                <c:pt idx="5">
                  <c:v>ОКТ</c:v>
                </c:pt>
                <c:pt idx="6">
                  <c:v>ВСБ</c:v>
                </c:pt>
                <c:pt idx="7">
                  <c:v>ПРВ</c:v>
                </c:pt>
                <c:pt idx="8">
                  <c:v>СЕВ</c:v>
                </c:pt>
                <c:pt idx="9">
                  <c:v>СКВ</c:v>
                </c:pt>
                <c:pt idx="10">
                  <c:v>СВР</c:v>
                </c:pt>
                <c:pt idx="11">
                  <c:v>ГОР</c:v>
                </c:pt>
                <c:pt idx="12">
                  <c:v>МСК</c:v>
                </c:pt>
                <c:pt idx="13">
                  <c:v>КРС</c:v>
                </c:pt>
                <c:pt idx="14">
                  <c:v>ЮВС</c:v>
                </c:pt>
                <c:pt idx="15">
                  <c:v>КЛГ</c:v>
                </c:pt>
              </c:strCache>
            </c:strRef>
          </c:cat>
          <c:val>
            <c:numRef>
              <c:f>Лист1!$C$2:$C$17</c:f>
              <c:numCache>
                <c:formatCode>General</c:formatCode>
                <c:ptCount val="16"/>
                <c:pt idx="0">
                  <c:v>34</c:v>
                </c:pt>
                <c:pt idx="1">
                  <c:v>22</c:v>
                </c:pt>
                <c:pt idx="2">
                  <c:v>33</c:v>
                </c:pt>
                <c:pt idx="3">
                  <c:v>15</c:v>
                </c:pt>
                <c:pt idx="4">
                  <c:v>23</c:v>
                </c:pt>
                <c:pt idx="5">
                  <c:v>8</c:v>
                </c:pt>
                <c:pt idx="6">
                  <c:v>21</c:v>
                </c:pt>
                <c:pt idx="7">
                  <c:v>13</c:v>
                </c:pt>
                <c:pt idx="8">
                  <c:v>12</c:v>
                </c:pt>
                <c:pt idx="9">
                  <c:v>10</c:v>
                </c:pt>
                <c:pt idx="10">
                  <c:v>8</c:v>
                </c:pt>
                <c:pt idx="11">
                  <c:v>11</c:v>
                </c:pt>
                <c:pt idx="12">
                  <c:v>11</c:v>
                </c:pt>
                <c:pt idx="13">
                  <c:v>9</c:v>
                </c:pt>
                <c:pt idx="14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B8C-4A04-AEBE-D0A31EF6EA62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АРМ</c:v>
                </c:pt>
              </c:strCache>
            </c:strRef>
          </c:tx>
          <c:cat>
            <c:strRef>
              <c:f>Лист1!$A$2:$A$17</c:f>
              <c:strCache>
                <c:ptCount val="16"/>
                <c:pt idx="0">
                  <c:v>ЗСБ</c:v>
                </c:pt>
                <c:pt idx="1">
                  <c:v>ДВС</c:v>
                </c:pt>
                <c:pt idx="2">
                  <c:v>ЗАБ</c:v>
                </c:pt>
                <c:pt idx="3">
                  <c:v>КБШ</c:v>
                </c:pt>
                <c:pt idx="4">
                  <c:v>ЮУР</c:v>
                </c:pt>
                <c:pt idx="5">
                  <c:v>ОКТ</c:v>
                </c:pt>
                <c:pt idx="6">
                  <c:v>ВСБ</c:v>
                </c:pt>
                <c:pt idx="7">
                  <c:v>ПРВ</c:v>
                </c:pt>
                <c:pt idx="8">
                  <c:v>СЕВ</c:v>
                </c:pt>
                <c:pt idx="9">
                  <c:v>СКВ</c:v>
                </c:pt>
                <c:pt idx="10">
                  <c:v>СВР</c:v>
                </c:pt>
                <c:pt idx="11">
                  <c:v>ГОР</c:v>
                </c:pt>
                <c:pt idx="12">
                  <c:v>МСК</c:v>
                </c:pt>
                <c:pt idx="13">
                  <c:v>КРС</c:v>
                </c:pt>
                <c:pt idx="14">
                  <c:v>ЮВС</c:v>
                </c:pt>
                <c:pt idx="15">
                  <c:v>КЛГ</c:v>
                </c:pt>
              </c:strCache>
            </c:strRef>
          </c:cat>
          <c:val>
            <c:numRef>
              <c:f>Лист1!$D$2:$D$17</c:f>
              <c:numCache>
                <c:formatCode>General</c:formatCode>
                <c:ptCount val="16"/>
                <c:pt idx="0">
                  <c:v>9</c:v>
                </c:pt>
                <c:pt idx="1">
                  <c:v>10</c:v>
                </c:pt>
                <c:pt idx="2">
                  <c:v>3</c:v>
                </c:pt>
                <c:pt idx="3">
                  <c:v>4</c:v>
                </c:pt>
                <c:pt idx="4">
                  <c:v>10</c:v>
                </c:pt>
                <c:pt idx="5">
                  <c:v>10</c:v>
                </c:pt>
                <c:pt idx="6">
                  <c:v>4</c:v>
                </c:pt>
                <c:pt idx="7">
                  <c:v>7</c:v>
                </c:pt>
                <c:pt idx="8">
                  <c:v>7</c:v>
                </c:pt>
                <c:pt idx="9">
                  <c:v>2</c:v>
                </c:pt>
                <c:pt idx="10">
                  <c:v>7</c:v>
                </c:pt>
                <c:pt idx="11">
                  <c:v>6</c:v>
                </c:pt>
                <c:pt idx="12">
                  <c:v>7</c:v>
                </c:pt>
                <c:pt idx="13">
                  <c:v>5</c:v>
                </c:pt>
                <c:pt idx="14">
                  <c:v>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B8C-4A04-AEBE-D0A31EF6EA62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РП</c:v>
                </c:pt>
              </c:strCache>
            </c:strRef>
          </c:tx>
          <c:cat>
            <c:strRef>
              <c:f>Лист1!$A$2:$A$17</c:f>
              <c:strCache>
                <c:ptCount val="16"/>
                <c:pt idx="0">
                  <c:v>ЗСБ</c:v>
                </c:pt>
                <c:pt idx="1">
                  <c:v>ДВС</c:v>
                </c:pt>
                <c:pt idx="2">
                  <c:v>ЗАБ</c:v>
                </c:pt>
                <c:pt idx="3">
                  <c:v>КБШ</c:v>
                </c:pt>
                <c:pt idx="4">
                  <c:v>ЮУР</c:v>
                </c:pt>
                <c:pt idx="5">
                  <c:v>ОКТ</c:v>
                </c:pt>
                <c:pt idx="6">
                  <c:v>ВСБ</c:v>
                </c:pt>
                <c:pt idx="7">
                  <c:v>ПРВ</c:v>
                </c:pt>
                <c:pt idx="8">
                  <c:v>СЕВ</c:v>
                </c:pt>
                <c:pt idx="9">
                  <c:v>СКВ</c:v>
                </c:pt>
                <c:pt idx="10">
                  <c:v>СВР</c:v>
                </c:pt>
                <c:pt idx="11">
                  <c:v>ГОР</c:v>
                </c:pt>
                <c:pt idx="12">
                  <c:v>МСК</c:v>
                </c:pt>
                <c:pt idx="13">
                  <c:v>КРС</c:v>
                </c:pt>
                <c:pt idx="14">
                  <c:v>ЮВС</c:v>
                </c:pt>
                <c:pt idx="15">
                  <c:v>КЛГ</c:v>
                </c:pt>
              </c:strCache>
            </c:strRef>
          </c:cat>
          <c:val>
            <c:numRef>
              <c:f>Лист1!$E$2:$E$17</c:f>
              <c:numCache>
                <c:formatCode>General</c:formatCode>
                <c:ptCount val="16"/>
                <c:pt idx="0">
                  <c:v>9</c:v>
                </c:pt>
                <c:pt idx="1">
                  <c:v>16</c:v>
                </c:pt>
                <c:pt idx="2">
                  <c:v>8</c:v>
                </c:pt>
                <c:pt idx="3">
                  <c:v>6</c:v>
                </c:pt>
                <c:pt idx="4">
                  <c:v>4</c:v>
                </c:pt>
                <c:pt idx="6">
                  <c:v>7</c:v>
                </c:pt>
                <c:pt idx="7">
                  <c:v>4</c:v>
                </c:pt>
                <c:pt idx="8">
                  <c:v>2</c:v>
                </c:pt>
                <c:pt idx="9">
                  <c:v>3</c:v>
                </c:pt>
                <c:pt idx="10">
                  <c:v>10</c:v>
                </c:pt>
                <c:pt idx="11">
                  <c:v>4</c:v>
                </c:pt>
                <c:pt idx="12">
                  <c:v>4</c:v>
                </c:pt>
                <c:pt idx="13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BB8C-4A04-AEBE-D0A31EF6EA62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ТП</c:v>
                </c:pt>
              </c:strCache>
            </c:strRef>
          </c:tx>
          <c:cat>
            <c:strRef>
              <c:f>Лист1!$A$2:$A$17</c:f>
              <c:strCache>
                <c:ptCount val="16"/>
                <c:pt idx="0">
                  <c:v>ЗСБ</c:v>
                </c:pt>
                <c:pt idx="1">
                  <c:v>ДВС</c:v>
                </c:pt>
                <c:pt idx="2">
                  <c:v>ЗАБ</c:v>
                </c:pt>
                <c:pt idx="3">
                  <c:v>КБШ</c:v>
                </c:pt>
                <c:pt idx="4">
                  <c:v>ЮУР</c:v>
                </c:pt>
                <c:pt idx="5">
                  <c:v>ОКТ</c:v>
                </c:pt>
                <c:pt idx="6">
                  <c:v>ВСБ</c:v>
                </c:pt>
                <c:pt idx="7">
                  <c:v>ПРВ</c:v>
                </c:pt>
                <c:pt idx="8">
                  <c:v>СЕВ</c:v>
                </c:pt>
                <c:pt idx="9">
                  <c:v>СКВ</c:v>
                </c:pt>
                <c:pt idx="10">
                  <c:v>СВР</c:v>
                </c:pt>
                <c:pt idx="11">
                  <c:v>ГОР</c:v>
                </c:pt>
                <c:pt idx="12">
                  <c:v>МСК</c:v>
                </c:pt>
                <c:pt idx="13">
                  <c:v>КРС</c:v>
                </c:pt>
                <c:pt idx="14">
                  <c:v>ЮВС</c:v>
                </c:pt>
                <c:pt idx="15">
                  <c:v>КЛГ</c:v>
                </c:pt>
              </c:strCache>
            </c:strRef>
          </c:cat>
          <c:val>
            <c:numRef>
              <c:f>Лист1!$F$2:$F$17</c:f>
              <c:numCache>
                <c:formatCode>General</c:formatCode>
                <c:ptCount val="16"/>
                <c:pt idx="0">
                  <c:v>13</c:v>
                </c:pt>
                <c:pt idx="1">
                  <c:v>14</c:v>
                </c:pt>
                <c:pt idx="2">
                  <c:v>10</c:v>
                </c:pt>
                <c:pt idx="3">
                  <c:v>7</c:v>
                </c:pt>
                <c:pt idx="4">
                  <c:v>3</c:v>
                </c:pt>
                <c:pt idx="5">
                  <c:v>3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5</c:v>
                </c:pt>
                <c:pt idx="13">
                  <c:v>4</c:v>
                </c:pt>
                <c:pt idx="14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BB8C-4A04-AEBE-D0A31EF6EA62}"/>
            </c:ext>
          </c:extLst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АВР</c:v>
                </c:pt>
              </c:strCache>
            </c:strRef>
          </c:tx>
          <c:cat>
            <c:strRef>
              <c:f>Лист1!$A$2:$A$17</c:f>
              <c:strCache>
                <c:ptCount val="16"/>
                <c:pt idx="0">
                  <c:v>ЗСБ</c:v>
                </c:pt>
                <c:pt idx="1">
                  <c:v>ДВС</c:v>
                </c:pt>
                <c:pt idx="2">
                  <c:v>ЗАБ</c:v>
                </c:pt>
                <c:pt idx="3">
                  <c:v>КБШ</c:v>
                </c:pt>
                <c:pt idx="4">
                  <c:v>ЮУР</c:v>
                </c:pt>
                <c:pt idx="5">
                  <c:v>ОКТ</c:v>
                </c:pt>
                <c:pt idx="6">
                  <c:v>ВСБ</c:v>
                </c:pt>
                <c:pt idx="7">
                  <c:v>ПРВ</c:v>
                </c:pt>
                <c:pt idx="8">
                  <c:v>СЕВ</c:v>
                </c:pt>
                <c:pt idx="9">
                  <c:v>СКВ</c:v>
                </c:pt>
                <c:pt idx="10">
                  <c:v>СВР</c:v>
                </c:pt>
                <c:pt idx="11">
                  <c:v>ГОР</c:v>
                </c:pt>
                <c:pt idx="12">
                  <c:v>МСК</c:v>
                </c:pt>
                <c:pt idx="13">
                  <c:v>КРС</c:v>
                </c:pt>
                <c:pt idx="14">
                  <c:v>ЮВС</c:v>
                </c:pt>
                <c:pt idx="15">
                  <c:v>КЛГ</c:v>
                </c:pt>
              </c:strCache>
            </c:strRef>
          </c:cat>
          <c:val>
            <c:numRef>
              <c:f>Лист1!$G$2:$G$17</c:f>
              <c:numCache>
                <c:formatCode>General</c:formatCode>
                <c:ptCount val="16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1</c:v>
                </c:pt>
                <c:pt idx="8">
                  <c:v>3</c:v>
                </c:pt>
                <c:pt idx="9">
                  <c:v>1</c:v>
                </c:pt>
                <c:pt idx="10">
                  <c:v>1</c:v>
                </c:pt>
                <c:pt idx="11">
                  <c:v>2</c:v>
                </c:pt>
                <c:pt idx="12">
                  <c:v>1</c:v>
                </c:pt>
                <c:pt idx="14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BB8C-4A04-AEBE-D0A31EF6EA62}"/>
            </c:ext>
          </c:extLst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ТЦ</c:v>
                </c:pt>
              </c:strCache>
            </c:strRef>
          </c:tx>
          <c:cat>
            <c:strRef>
              <c:f>Лист1!$A$2:$A$17</c:f>
              <c:strCache>
                <c:ptCount val="16"/>
                <c:pt idx="0">
                  <c:v>ЗСБ</c:v>
                </c:pt>
                <c:pt idx="1">
                  <c:v>ДВС</c:v>
                </c:pt>
                <c:pt idx="2">
                  <c:v>ЗАБ</c:v>
                </c:pt>
                <c:pt idx="3">
                  <c:v>КБШ</c:v>
                </c:pt>
                <c:pt idx="4">
                  <c:v>ЮУР</c:v>
                </c:pt>
                <c:pt idx="5">
                  <c:v>ОКТ</c:v>
                </c:pt>
                <c:pt idx="6">
                  <c:v>ВСБ</c:v>
                </c:pt>
                <c:pt idx="7">
                  <c:v>ПРВ</c:v>
                </c:pt>
                <c:pt idx="8">
                  <c:v>СЕВ</c:v>
                </c:pt>
                <c:pt idx="9">
                  <c:v>СКВ</c:v>
                </c:pt>
                <c:pt idx="10">
                  <c:v>СВР</c:v>
                </c:pt>
                <c:pt idx="11">
                  <c:v>ГОР</c:v>
                </c:pt>
                <c:pt idx="12">
                  <c:v>МСК</c:v>
                </c:pt>
                <c:pt idx="13">
                  <c:v>КРС</c:v>
                </c:pt>
                <c:pt idx="14">
                  <c:v>ЮВС</c:v>
                </c:pt>
                <c:pt idx="15">
                  <c:v>КЛГ</c:v>
                </c:pt>
              </c:strCache>
            </c:strRef>
          </c:cat>
          <c:val>
            <c:numRef>
              <c:f>Лист1!$H$2:$H$17</c:f>
              <c:numCache>
                <c:formatCode>General</c:formatCode>
                <c:ptCount val="16"/>
                <c:pt idx="1">
                  <c:v>2</c:v>
                </c:pt>
                <c:pt idx="2">
                  <c:v>2</c:v>
                </c:pt>
                <c:pt idx="3">
                  <c:v>1</c:v>
                </c:pt>
                <c:pt idx="8">
                  <c:v>1</c:v>
                </c:pt>
                <c:pt idx="9">
                  <c:v>1</c:v>
                </c:pt>
                <c:pt idx="12">
                  <c:v>1</c:v>
                </c:pt>
                <c:pt idx="14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BB8C-4A04-AEBE-D0A31EF6EA62}"/>
            </c:ext>
          </c:extLst>
        </c:ser>
        <c:ser>
          <c:idx val="7"/>
          <c:order val="7"/>
          <c:tx>
            <c:strRef>
              <c:f>Лист1!$I$1</c:f>
              <c:strCache>
                <c:ptCount val="1"/>
                <c:pt idx="0">
                  <c:v>ЗР</c:v>
                </c:pt>
              </c:strCache>
            </c:strRef>
          </c:tx>
          <c:cat>
            <c:strRef>
              <c:f>Лист1!$A$2:$A$17</c:f>
              <c:strCache>
                <c:ptCount val="16"/>
                <c:pt idx="0">
                  <c:v>ЗСБ</c:v>
                </c:pt>
                <c:pt idx="1">
                  <c:v>ДВС</c:v>
                </c:pt>
                <c:pt idx="2">
                  <c:v>ЗАБ</c:v>
                </c:pt>
                <c:pt idx="3">
                  <c:v>КБШ</c:v>
                </c:pt>
                <c:pt idx="4">
                  <c:v>ЮУР</c:v>
                </c:pt>
                <c:pt idx="5">
                  <c:v>ОКТ</c:v>
                </c:pt>
                <c:pt idx="6">
                  <c:v>ВСБ</c:v>
                </c:pt>
                <c:pt idx="7">
                  <c:v>ПРВ</c:v>
                </c:pt>
                <c:pt idx="8">
                  <c:v>СЕВ</c:v>
                </c:pt>
                <c:pt idx="9">
                  <c:v>СКВ</c:v>
                </c:pt>
                <c:pt idx="10">
                  <c:v>СВР</c:v>
                </c:pt>
                <c:pt idx="11">
                  <c:v>ГОР</c:v>
                </c:pt>
                <c:pt idx="12">
                  <c:v>МСК</c:v>
                </c:pt>
                <c:pt idx="13">
                  <c:v>КРС</c:v>
                </c:pt>
                <c:pt idx="14">
                  <c:v>ЮВС</c:v>
                </c:pt>
                <c:pt idx="15">
                  <c:v>КЛГ</c:v>
                </c:pt>
              </c:strCache>
            </c:strRef>
          </c:cat>
          <c:val>
            <c:numRef>
              <c:f>Лист1!$I$2:$I$17</c:f>
              <c:numCache>
                <c:formatCode>General</c:formatCode>
                <c:ptCount val="16"/>
                <c:pt idx="1">
                  <c:v>2</c:v>
                </c:pt>
                <c:pt idx="2">
                  <c:v>1</c:v>
                </c:pt>
                <c:pt idx="4">
                  <c:v>1</c:v>
                </c:pt>
                <c:pt idx="6">
                  <c:v>2</c:v>
                </c:pt>
                <c:pt idx="8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BB8C-4A04-AEBE-D0A31EF6EA62}"/>
            </c:ext>
          </c:extLst>
        </c:ser>
        <c:ser>
          <c:idx val="8"/>
          <c:order val="8"/>
          <c:tx>
            <c:strRef>
              <c:f>Лист1!$J$1</c:f>
              <c:strCache>
                <c:ptCount val="1"/>
                <c:pt idx="0">
                  <c:v>Прочие</c:v>
                </c:pt>
              </c:strCache>
            </c:strRef>
          </c:tx>
          <c:cat>
            <c:strRef>
              <c:f>Лист1!$A$2:$A$17</c:f>
              <c:strCache>
                <c:ptCount val="16"/>
                <c:pt idx="0">
                  <c:v>ЗСБ</c:v>
                </c:pt>
                <c:pt idx="1">
                  <c:v>ДВС</c:v>
                </c:pt>
                <c:pt idx="2">
                  <c:v>ЗАБ</c:v>
                </c:pt>
                <c:pt idx="3">
                  <c:v>КБШ</c:v>
                </c:pt>
                <c:pt idx="4">
                  <c:v>ЮУР</c:v>
                </c:pt>
                <c:pt idx="5">
                  <c:v>ОКТ</c:v>
                </c:pt>
                <c:pt idx="6">
                  <c:v>ВСБ</c:v>
                </c:pt>
                <c:pt idx="7">
                  <c:v>ПРВ</c:v>
                </c:pt>
                <c:pt idx="8">
                  <c:v>СЕВ</c:v>
                </c:pt>
                <c:pt idx="9">
                  <c:v>СКВ</c:v>
                </c:pt>
                <c:pt idx="10">
                  <c:v>СВР</c:v>
                </c:pt>
                <c:pt idx="11">
                  <c:v>ГОР</c:v>
                </c:pt>
                <c:pt idx="12">
                  <c:v>МСК</c:v>
                </c:pt>
                <c:pt idx="13">
                  <c:v>КРС</c:v>
                </c:pt>
                <c:pt idx="14">
                  <c:v>ЮВС</c:v>
                </c:pt>
                <c:pt idx="15">
                  <c:v>КЛГ</c:v>
                </c:pt>
              </c:strCache>
            </c:strRef>
          </c:cat>
          <c:val>
            <c:numRef>
              <c:f>Лист1!$J$2:$J$17</c:f>
              <c:numCache>
                <c:formatCode>General</c:formatCode>
                <c:ptCount val="16"/>
                <c:pt idx="0">
                  <c:v>1</c:v>
                </c:pt>
                <c:pt idx="3">
                  <c:v>1</c:v>
                </c:pt>
                <c:pt idx="7">
                  <c:v>1</c:v>
                </c:pt>
                <c:pt idx="9">
                  <c:v>1</c:v>
                </c:pt>
              </c:numCache>
            </c:numRef>
          </c:val>
        </c:ser>
        <c:dLbls/>
        <c:overlap val="100"/>
        <c:axId val="94049792"/>
        <c:axId val="94051328"/>
      </c:barChart>
      <c:catAx>
        <c:axId val="94049792"/>
        <c:scaling>
          <c:orientation val="minMax"/>
        </c:scaling>
        <c:axPos val="b"/>
        <c:numFmt formatCode="General" sourceLinked="0"/>
        <c:tickLblPos val="nextTo"/>
        <c:crossAx val="94051328"/>
        <c:crosses val="autoZero"/>
        <c:auto val="1"/>
        <c:lblAlgn val="ctr"/>
        <c:lblOffset val="100"/>
      </c:catAx>
      <c:valAx>
        <c:axId val="94051328"/>
        <c:scaling>
          <c:orientation val="minMax"/>
        </c:scaling>
        <c:axPos val="l"/>
        <c:majorGridlines>
          <c:spPr>
            <a:ln>
              <a:gradFill>
                <a:gsLst>
                  <a:gs pos="0">
                    <a:srgbClr val="4F81BD">
                      <a:lumMod val="5000"/>
                      <a:lumOff val="95000"/>
                    </a:srgbClr>
                  </a:gs>
                  <a:gs pos="74000">
                    <a:srgbClr val="4F81BD">
                      <a:lumMod val="45000"/>
                      <a:lumOff val="55000"/>
                    </a:srgbClr>
                  </a:gs>
                  <a:gs pos="83000">
                    <a:srgbClr val="4F81BD">
                      <a:lumMod val="45000"/>
                      <a:lumOff val="55000"/>
                    </a:srgbClr>
                  </a:gs>
                  <a:gs pos="100000">
                    <a:srgbClr val="4F81BD">
                      <a:lumMod val="30000"/>
                      <a:lumOff val="70000"/>
                    </a:srgbClr>
                  </a:gs>
                </a:gsLst>
                <a:lin ang="5400000" scaled="1"/>
              </a:gradFill>
            </a:ln>
          </c:spPr>
        </c:majorGridlines>
        <c:numFmt formatCode="General" sourceLinked="0"/>
        <c:tickLblPos val="nextTo"/>
        <c:txPr>
          <a:bodyPr/>
          <a:lstStyle/>
          <a:p>
            <a:pPr>
              <a:defRPr sz="600"/>
            </a:pPr>
            <a:endParaRPr lang="ru-RU"/>
          </a:p>
        </c:txPr>
        <c:crossAx val="94049792"/>
        <c:crosses val="autoZero"/>
        <c:crossBetween val="between"/>
      </c:valAx>
      <c:dTable>
        <c:showHorzBorder val="1"/>
        <c:showVertBorder val="1"/>
        <c:showOutline val="1"/>
        <c:showKeys val="1"/>
        <c:txPr>
          <a:bodyPr/>
          <a:lstStyle/>
          <a:p>
            <a:pPr rtl="0">
              <a:defRPr>
                <a:effectLst/>
              </a:defRPr>
            </a:pPr>
            <a:endParaRPr lang="ru-RU"/>
          </a:p>
        </c:txPr>
      </c:dTable>
    </c:plotArea>
    <c:plotVisOnly val="1"/>
    <c:dispBlanksAs val="gap"/>
  </c:chart>
  <c:txPr>
    <a:bodyPr/>
    <a:lstStyle/>
    <a:p>
      <a:pPr>
        <a:defRPr b="0"/>
      </a:pPr>
      <a:endParaRPr lang="ru-RU"/>
    </a:p>
  </c:txPr>
  <c:externalData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rotX val="30"/>
      <c:perspective val="30"/>
    </c:view3D>
    <c:plotArea>
      <c:layout>
        <c:manualLayout>
          <c:layoutTarget val="inner"/>
          <c:xMode val="edge"/>
          <c:yMode val="edge"/>
          <c:x val="0.1448722340996762"/>
          <c:y val="0.1742511024726239"/>
          <c:w val="0.85199003172323373"/>
          <c:h val="0.82482622711304199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 w="38100">
              <a:solidFill>
                <a:schemeClr val="bg1"/>
              </a:solidFill>
            </a:ln>
          </c:spPr>
          <c:explosion val="25"/>
          <c:dLbls>
            <c:dLbl>
              <c:idx val="0"/>
              <c:layout>
                <c:manualLayout>
                  <c:x val="-0.13054835404841839"/>
                  <c:y val="0.1023632609808643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000" b="1">
                      <a:solidFill>
                        <a:schemeClr val="bg1"/>
                      </a:solidFill>
                      <a:effectLst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0.19140178480249576"/>
                  <c:y val="-0.167116119813548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000" b="1">
                      <a:solidFill>
                        <a:schemeClr val="bg1"/>
                      </a:solidFill>
                      <a:effectLst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0.11153459084275757"/>
                  <c:y val="-0.2443571736547248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000" b="1">
                      <a:solidFill>
                        <a:schemeClr val="bg1"/>
                      </a:solidFill>
                      <a:effectLst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.11698527159107003"/>
                  <c:y val="-0.2322958349278341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000" b="1">
                      <a:solidFill>
                        <a:schemeClr val="bg1"/>
                      </a:solidFill>
                      <a:effectLst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1.77804936701772E-2"/>
                  <c:y val="5.7015931598121558E-2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000" b="1">
                        <a:solidFill>
                          <a:schemeClr val="bg1"/>
                        </a:solidFill>
                        <a:effectLst/>
                      </a:defRPr>
                    </a:pPr>
                    <a:r>
                      <a:rPr lang="ru-RU" dirty="0">
                        <a:solidFill>
                          <a:schemeClr val="tx1"/>
                        </a:solidFill>
                      </a:rPr>
                      <a:t>Отверстие диаметром 0,5 мм.(0,6 мм) в седле диафрагмы больше нормы или меньше. Или засорено; 39; 7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bestFit"/>
              <c:showVal val="1"/>
              <c:showCatName val="1"/>
              <c:showPercent val="1"/>
            </c:dLbl>
            <c:dLbl>
              <c:idx val="5"/>
              <c:layout>
                <c:manualLayout>
                  <c:x val="-2.3977065716177543E-2"/>
                  <c:y val="0.10598875591955564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7.6351531642525616E-2"/>
                  <c:y val="8.4948530326818997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Разрыв </a:t>
                    </a:r>
                    <a:r>
                      <a:rPr lang="ru-RU" dirty="0"/>
                      <a:t>манжеты </a:t>
                    </a:r>
                    <a:endParaRPr lang="ru-RU" dirty="0" smtClean="0"/>
                  </a:p>
                  <a:p>
                    <a:r>
                      <a:rPr lang="ru-RU" dirty="0" smtClean="0"/>
                      <a:t>(</a:t>
                    </a:r>
                    <a:r>
                      <a:rPr lang="ru-RU" dirty="0"/>
                      <a:t>считая от главного поршня) </a:t>
                    </a:r>
                    <a:endParaRPr lang="ru-RU" dirty="0" smtClean="0"/>
                  </a:p>
                  <a:p>
                    <a:r>
                      <a:rPr lang="ru-RU" dirty="0" smtClean="0"/>
                      <a:t>на </a:t>
                    </a:r>
                    <a:r>
                      <a:rPr lang="ru-RU" dirty="0"/>
                      <a:t>штоке; 22; 4%</a:t>
                    </a:r>
                  </a:p>
                </c:rich>
              </c:tx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8.3672829033841434E-2"/>
                  <c:y val="0.125257806289135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1000" b="1">
                      <a:solidFill>
                        <a:schemeClr val="tx1"/>
                      </a:solidFill>
                      <a:effectLst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>
                  <c15:layout>
                    <c:manualLayout>
                      <c:w val="0.1646159940440699"/>
                      <c:h val="6.734721840370117E-2"/>
                    </c:manualLayout>
                  </c15:layout>
                </c:ext>
              </c:extLst>
            </c:dLbl>
            <c:dLbl>
              <c:idx val="8"/>
              <c:layout>
                <c:manualLayout>
                  <c:x val="-0.12233366714652313"/>
                  <c:y val="4.8252897172530618E-2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0.14672572085530849"/>
                  <c:y val="1.815692544237628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1000" b="1">
                      <a:solidFill>
                        <a:schemeClr val="tx1"/>
                      </a:solidFill>
                      <a:effectLst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>
                  <c15:layout>
                    <c:manualLayout>
                      <c:w val="0.26113269733136119"/>
                      <c:h val="4.1986532028856709E-2"/>
                    </c:manualLayout>
                  </c15:layout>
                </c:ext>
              </c:extLst>
            </c:dLbl>
            <c:dLbl>
              <c:idx val="10"/>
              <c:layout>
                <c:manualLayout>
                  <c:x val="-7.5488984164736816E-2"/>
                  <c:y val="-1.2676392477201258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1000" b="1">
                      <a:solidFill>
                        <a:schemeClr val="tx1"/>
                      </a:solidFill>
                      <a:effectLst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>
                  <c15:layout>
                    <c:manualLayout>
                      <c:w val="0.22933699100351487"/>
                      <c:h val="4.6547806556706428E-2"/>
                    </c:manualLayout>
                  </c15:layout>
                </c:ext>
              </c:extLst>
            </c:dLbl>
            <c:dLbl>
              <c:idx val="11"/>
              <c:layout>
                <c:manualLayout>
                  <c:x val="-0.13322934613243384"/>
                  <c:y val="-7.112984386254471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1000" b="1">
                      <a:solidFill>
                        <a:schemeClr val="tx1"/>
                      </a:solidFill>
                      <a:effectLst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>
                  <c15:layout>
                    <c:manualLayout>
                      <c:w val="0.31629406416460504"/>
                      <c:h val="3.0583345709232396E-2"/>
                    </c:manualLayout>
                  </c15:layout>
                </c:ext>
              </c:extLst>
            </c:dLbl>
            <c:dLbl>
              <c:idx val="12"/>
              <c:layout>
                <c:manualLayout>
                  <c:x val="-9.5051603785705124E-2"/>
                  <c:y val="-0.13502468026632819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layout>
                <c:manualLayout>
                  <c:x val="8.6031729822145617E-2"/>
                  <c:y val="-0.147632833203349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14"/>
              <c:layout>
                <c:manualLayout>
                  <c:x val="0.20171702414325859"/>
                  <c:y val="-8.2186624726884691E-2"/>
                </c:manualLayout>
              </c:layout>
              <c:dLblPos val="bestFit"/>
              <c:showVal val="1"/>
              <c:showCatName val="1"/>
              <c:showPercent val="1"/>
            </c:dLbl>
            <c:dLbl>
              <c:idx val="15"/>
              <c:layout>
                <c:manualLayout>
                  <c:x val="0.16316217720868484"/>
                  <c:y val="-1.1403186319624311E-2"/>
                </c:manualLayout>
              </c:layout>
              <c:tx>
                <c:rich>
                  <a:bodyPr wrap="square" lIns="38100" tIns="19050" rIns="38100" bIns="19050" anchor="ctr">
                    <a:noAutofit/>
                  </a:bodyPr>
                  <a:lstStyle/>
                  <a:p>
                    <a:pPr>
                      <a:defRPr sz="1000" b="1">
                        <a:solidFill>
                          <a:schemeClr val="tx1"/>
                        </a:solidFill>
                        <a:effectLst/>
                      </a:defRPr>
                    </a:pPr>
                    <a:r>
                      <a:rPr lang="ru-RU" dirty="0" smtClean="0"/>
                      <a:t> </a:t>
                    </a:r>
                    <a:r>
                      <a:rPr lang="ru-RU" dirty="0"/>
                      <a:t>Другие причины; 38; 7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bestFit"/>
              <c:showVal val="1"/>
              <c:showCatName val="1"/>
              <c:showSerName val="1"/>
              <c:showPercent val="1"/>
              <c:extLst>
                <c:ext xmlns:c15="http://schemas.microsoft.com/office/drawing/2012/chart" uri="{CE6537A1-D6FC-4f65-9D91-7224C49458BB}">
                  <c15:layout>
                    <c:manualLayout>
                      <c:w val="7.5012765060300496E-2"/>
                      <c:h val="0.10611805189042382"/>
                    </c:manualLayout>
                  </c15:layout>
                </c:ext>
              </c:extLst>
            </c:dLbl>
            <c:dLbl>
              <c:idx val="16"/>
              <c:layout>
                <c:manualLayout>
                  <c:x val="3.6602616260874979E-2"/>
                  <c:y val="-7.0677307964506109E-2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17"/>
              <c:layout>
                <c:manualLayout>
                  <c:x val="0.23704832275343177"/>
                  <c:y val="-7.096113057833548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1000" b="1">
                      <a:solidFill>
                        <a:schemeClr val="tx1"/>
                      </a:solidFill>
                      <a:effectLst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>
                  <c15:layout>
                    <c:manualLayout>
                      <c:w val="0.20624853819470754"/>
                      <c:h val="3.1393061726794375E-2"/>
                    </c:manualLayout>
                  </c15:layout>
                </c:ext>
              </c:extLst>
            </c:dLbl>
            <c:dLbl>
              <c:idx val="18"/>
              <c:layout>
                <c:manualLayout>
                  <c:x val="0.12201042287762336"/>
                  <c:y val="-4.4002830863451081E-2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19"/>
              <c:layout>
                <c:manualLayout>
                  <c:x val="4.4328195465191664E-2"/>
                  <c:y val="-6.2523580801631447E-3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1">
                    <a:solidFill>
                      <a:schemeClr val="tx1"/>
                    </a:solidFill>
                    <a:effectLst/>
                  </a:defRPr>
                </a:pPr>
                <a:endParaRPr lang="ru-RU"/>
              </a:p>
            </c:txPr>
            <c:dLblPos val="bestFit"/>
            <c:showVal val="1"/>
            <c:showCatName val="1"/>
            <c:showPercent val="1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21</c:f>
              <c:strCache>
                <c:ptCount val="16"/>
                <c:pt idx="0">
                  <c:v>Разрыв,утечка, в большой диафрагме </c:v>
                </c:pt>
                <c:pt idx="1">
                  <c:v>Разрыв диафрагмы узла клапана мягкости</c:v>
                </c:pt>
                <c:pt idx="2">
                  <c:v>Расслоение, порван манжет в узле трех клапанов</c:v>
                </c:pt>
                <c:pt idx="3">
                  <c:v>Просажена пружина дополнительной разрядки</c:v>
                </c:pt>
                <c:pt idx="4">
                  <c:v>Отверстие диаметром 0,5 мм.(0,6 мм) в седле диафрагмы больше нормы или меньше. Или засорено</c:v>
                </c:pt>
                <c:pt idx="5">
                  <c:v>Просадка уплотнения клапана дополнительной разрядки</c:v>
                </c:pt>
                <c:pt idx="6">
                  <c:v>Разрыв манжеты (считая от главного поршня) на штоке</c:v>
                </c:pt>
                <c:pt idx="7">
                  <c:v>Неплотность (разрыв) выпускного клапана</c:v>
                </c:pt>
                <c:pt idx="8">
                  <c:v>Нарушение технологии сборки и обслуживания</c:v>
                </c:pt>
                <c:pt idx="9">
                  <c:v>Просажена пружина атмосферного клапана</c:v>
                </c:pt>
                <c:pt idx="10">
                  <c:v>Неплотность (разрыв) клапана мягкости</c:v>
                </c:pt>
                <c:pt idx="11">
                  <c:v>Засорены отверстия плунжера или его внутренняя полость</c:v>
                </c:pt>
                <c:pt idx="12">
                  <c:v>Отверстие Ø 1,3 мм в седле обратного клапана меньше нормы или засорено</c:v>
                </c:pt>
                <c:pt idx="13">
                  <c:v>Просадка уплотнения плунжерного клапана</c:v>
                </c:pt>
                <c:pt idx="14">
                  <c:v>Большие силы трения во всех частях, либо несоосности при сборке</c:v>
                </c:pt>
                <c:pt idx="15">
                  <c:v>Другие причины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120</c:v>
                </c:pt>
                <c:pt idx="1">
                  <c:v>89</c:v>
                </c:pt>
                <c:pt idx="2">
                  <c:v>76</c:v>
                </c:pt>
                <c:pt idx="3">
                  <c:v>45</c:v>
                </c:pt>
                <c:pt idx="4">
                  <c:v>39</c:v>
                </c:pt>
                <c:pt idx="5">
                  <c:v>30</c:v>
                </c:pt>
                <c:pt idx="6">
                  <c:v>22</c:v>
                </c:pt>
                <c:pt idx="7">
                  <c:v>20</c:v>
                </c:pt>
                <c:pt idx="8">
                  <c:v>19</c:v>
                </c:pt>
                <c:pt idx="9">
                  <c:v>17</c:v>
                </c:pt>
                <c:pt idx="10">
                  <c:v>10</c:v>
                </c:pt>
                <c:pt idx="11">
                  <c:v>9</c:v>
                </c:pt>
                <c:pt idx="12">
                  <c:v>5</c:v>
                </c:pt>
                <c:pt idx="13">
                  <c:v>4</c:v>
                </c:pt>
                <c:pt idx="14">
                  <c:v>4</c:v>
                </c:pt>
                <c:pt idx="15">
                  <c:v>38</c:v>
                </c:pt>
              </c:numCache>
            </c:numRef>
          </c:val>
        </c:ser>
        <c:dLbls>
          <c:showVal val="1"/>
        </c:dLbls>
      </c:pie3DChart>
    </c:plotArea>
    <c:plotVisOnly val="1"/>
    <c:dispBlanksAs val="zero"/>
  </c:chart>
  <c:spPr>
    <a:ln>
      <a:solidFill>
        <a:schemeClr val="tx1"/>
      </a:solidFill>
    </a:ln>
  </c:spPr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 w="38100">
              <a:solidFill>
                <a:schemeClr val="bg1"/>
              </a:solidFill>
            </a:ln>
          </c:spPr>
          <c:explosion val="25"/>
          <c:dLbls>
            <c:dLbl>
              <c:idx val="0"/>
              <c:layout>
                <c:manualLayout>
                  <c:x val="-0.1953948603749468"/>
                  <c:y val="-0.1074553673002229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>
                      <a:solidFill>
                        <a:schemeClr val="bg1"/>
                      </a:solidFill>
                      <a:effectLst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18359195620019572"/>
                  <c:y val="-0.2264126886755945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>
                      <a:solidFill>
                        <a:schemeClr val="bg1"/>
                      </a:solidFill>
                      <a:effectLst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.15460612788778608"/>
                  <c:y val="4.077599850160332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>
                      <a:solidFill>
                        <a:schemeClr val="bg1"/>
                      </a:solidFill>
                      <a:effectLst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6.102728263984742E-2"/>
                  <c:y val="4.5813872344292184E-2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4.9089810022960596E-2"/>
                  <c:y val="0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4.9324275356351081E-2"/>
                  <c:y val="-1.9286289832362389E-2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effectLst/>
                  </a:defRPr>
                </a:pPr>
                <a:endParaRPr lang="ru-RU"/>
              </a:p>
            </c:txPr>
            <c:dLblPos val="bestFit"/>
            <c:showVal val="1"/>
            <c:showCatName val="1"/>
            <c:showPercent val="1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8</c:f>
              <c:strCache>
                <c:ptCount val="7"/>
                <c:pt idx="0">
                  <c:v>Обрыв (излом) трубы магистрали воздухопровода и подводящих труб</c:v>
                </c:pt>
                <c:pt idx="1">
                  <c:v>Неисправность соединительного рукава </c:v>
                </c:pt>
                <c:pt idx="2">
                  <c:v>Неплотность тормозной магистрали </c:v>
                </c:pt>
                <c:pt idx="3">
                  <c:v>Излом трубы воздухопровода ТМ</c:v>
                </c:pt>
                <c:pt idx="4">
                  <c:v>Ослабление крепления труб воздухопровода и тормозных приборов </c:v>
                </c:pt>
                <c:pt idx="5">
                  <c:v>Трещина трубы воздухопровода ТМ</c:v>
                </c:pt>
                <c:pt idx="6">
                  <c:v>Засорение пылеулавливающей сетки ТМ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20</c:v>
                </c:pt>
                <c:pt idx="1">
                  <c:v>53</c:v>
                </c:pt>
                <c:pt idx="2">
                  <c:v>31</c:v>
                </c:pt>
                <c:pt idx="3">
                  <c:v>19</c:v>
                </c:pt>
                <c:pt idx="4">
                  <c:v>7</c:v>
                </c:pt>
                <c:pt idx="5">
                  <c:v>4</c:v>
                </c:pt>
                <c:pt idx="6">
                  <c:v>1</c:v>
                </c:pt>
              </c:numCache>
            </c:numRef>
          </c:val>
        </c:ser>
        <c:dLbls>
          <c:showVal val="1"/>
        </c:dLbls>
      </c:pie3D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rotX val="30"/>
      <c:perspective val="30"/>
    </c:view3D>
    <c:plotArea>
      <c:layout>
        <c:manualLayout>
          <c:layoutTarget val="inner"/>
          <c:xMode val="edge"/>
          <c:yMode val="edge"/>
          <c:x val="8.1326363884926714E-2"/>
          <c:y val="9.2148160971328802E-2"/>
          <c:w val="0.85199003172323373"/>
          <c:h val="0.82482622711304199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 w="38100">
              <a:solidFill>
                <a:schemeClr val="bg1"/>
              </a:solidFill>
            </a:ln>
          </c:spPr>
          <c:explosion val="25"/>
          <c:dLbls>
            <c:dLbl>
              <c:idx val="0"/>
              <c:layout>
                <c:manualLayout>
                  <c:x val="0.17381186112932079"/>
                  <c:y val="4.306669211881798E-2"/>
                </c:manualLayout>
              </c:layout>
              <c:dLblPos val="bestFit"/>
              <c:showVal val="1"/>
              <c:showCatName val="1"/>
              <c:showPercent val="1"/>
            </c:dLbl>
            <c:dLbl>
              <c:idx val="1"/>
              <c:layout>
                <c:manualLayout>
                  <c:x val="4.4398115053547391E-2"/>
                  <c:y val="-1.981460753554876E-2"/>
                </c:manualLayout>
              </c:layout>
              <c:dLblPos val="bestFit"/>
              <c:showVal val="1"/>
              <c:showCatName val="1"/>
              <c:showPercent val="1"/>
            </c:dLbl>
            <c:dLbl>
              <c:idx val="2"/>
              <c:layout>
                <c:manualLayout>
                  <c:x val="1.4307491360936611E-2"/>
                  <c:y val="-7.3255864694639725E-2"/>
                </c:manualLayout>
              </c:layout>
              <c:dLblPos val="bestFit"/>
              <c:showVal val="1"/>
              <c:showCatName val="1"/>
              <c:showPercent val="1"/>
            </c:dLbl>
            <c:dLbl>
              <c:idx val="3"/>
              <c:layout>
                <c:manualLayout>
                  <c:x val="4.2882367086897959E-2"/>
                  <c:y val="-0.18017034385006406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>
                        <a:solidFill>
                          <a:schemeClr val="tx1"/>
                        </a:solidFill>
                      </a:rPr>
                      <a:t>Разрушение втулки</a:t>
                    </a:r>
                  </a:p>
                  <a:p>
                    <a:r>
                      <a:rPr lang="ru-RU" dirty="0" smtClean="0">
                        <a:solidFill>
                          <a:schemeClr val="tx1"/>
                        </a:solidFill>
                      </a:rPr>
                      <a:t>подвески </a:t>
                    </a:r>
                    <a:r>
                      <a:rPr lang="ru-RU" dirty="0">
                        <a:solidFill>
                          <a:schemeClr val="tx1"/>
                        </a:solidFill>
                      </a:rPr>
                      <a:t>ТП; 7; 5%</a:t>
                    </a:r>
                    <a:endParaRPr lang="ru-RU" dirty="0"/>
                  </a:p>
                </c:rich>
              </c:tx>
              <c:dLblPos val="bestFit"/>
              <c:showVal val="1"/>
              <c:showCatName val="1"/>
              <c:showSerName val="1"/>
              <c:showPercent val="1"/>
            </c:dLbl>
            <c:dLbl>
              <c:idx val="4"/>
              <c:layout>
                <c:manualLayout>
                  <c:x val="3.0331430378537572E-2"/>
                  <c:y val="-6.7357633912465575E-2"/>
                </c:manualLayout>
              </c:layout>
              <c:tx>
                <c:rich>
                  <a:bodyPr/>
                  <a:lstStyle/>
                  <a:p>
                    <a:r>
                      <a:rPr lang="ru-RU" dirty="0">
                        <a:solidFill>
                          <a:schemeClr val="tx1"/>
                        </a:solidFill>
                      </a:rPr>
                      <a:t>Излом подвески </a:t>
                    </a:r>
                    <a:r>
                      <a:rPr lang="ru-RU" dirty="0" smtClean="0">
                        <a:solidFill>
                          <a:schemeClr val="tx1"/>
                        </a:solidFill>
                      </a:rPr>
                      <a:t>тормозного</a:t>
                    </a:r>
                  </a:p>
                  <a:p>
                    <a:r>
                      <a:rPr lang="ru-RU" dirty="0" smtClean="0">
                        <a:solidFill>
                          <a:schemeClr val="tx1"/>
                        </a:solidFill>
                      </a:rPr>
                      <a:t> </a:t>
                    </a:r>
                    <a:r>
                      <a:rPr lang="ru-RU" dirty="0">
                        <a:solidFill>
                          <a:schemeClr val="tx1"/>
                        </a:solidFill>
                      </a:rPr>
                      <a:t>башмака ; 5; 3%</a:t>
                    </a:r>
                    <a:endParaRPr lang="ru-RU" dirty="0"/>
                  </a:p>
                </c:rich>
              </c:tx>
              <c:dLblPos val="bestFit"/>
              <c:showVal val="1"/>
              <c:showCatName val="1"/>
              <c:showPercent val="1"/>
            </c:dLbl>
            <c:dLbl>
              <c:idx val="5"/>
              <c:layout>
                <c:manualLayout>
                  <c:x val="2.9676788673191401E-2"/>
                  <c:y val="-6.4884668891874372E-2"/>
                </c:manualLayout>
              </c:layout>
              <c:dLblPos val="bestFit"/>
              <c:showVal val="1"/>
              <c:showCatName val="1"/>
              <c:showPercent val="1"/>
            </c:dLbl>
            <c:dLbl>
              <c:idx val="6"/>
              <c:layout>
                <c:manualLayout>
                  <c:x val="0.12060848983571777"/>
                  <c:y val="-6.5108781908045796E-2"/>
                </c:manualLayout>
              </c:layout>
              <c:dLblPos val="bestFit"/>
              <c:showVal val="1"/>
              <c:showCatName val="1"/>
              <c:showPercent val="1"/>
            </c:dLbl>
            <c:dLbl>
              <c:idx val="7"/>
              <c:layout>
                <c:manualLayout>
                  <c:x val="8.6342867872566814E-2"/>
                  <c:y val="-5.4310413407704879E-2"/>
                </c:manualLayout>
              </c:layout>
              <c:dLblPos val="bestFit"/>
              <c:showVal val="1"/>
              <c:showCatName val="1"/>
              <c:showPercent val="1"/>
            </c:dLbl>
            <c:dLbl>
              <c:idx val="8"/>
              <c:layout>
                <c:manualLayout>
                  <c:x val="0.10630264557933609"/>
                  <c:y val="-2.3397362972758601E-2"/>
                </c:manualLayout>
              </c:layout>
              <c:dLblPos val="bestFit"/>
              <c:showVal val="1"/>
              <c:showCatName val="1"/>
              <c:showPercent val="1"/>
            </c:dLbl>
            <c:dLbl>
              <c:idx val="9"/>
              <c:layout>
                <c:manualLayout>
                  <c:x val="0.12562655857268507"/>
                  <c:y val="4.4238616432548193E-2"/>
                </c:manualLayout>
              </c:layout>
              <c:dLblPos val="bestFit"/>
              <c:showVal val="1"/>
              <c:showCatName val="1"/>
              <c:showPercent val="1"/>
            </c:dLbl>
            <c:dLbl>
              <c:idx val="10"/>
              <c:layout>
                <c:manualLayout>
                  <c:x val="1.2396603011566044E-2"/>
                  <c:y val="8.6799617643081681E-2"/>
                </c:manualLayout>
              </c:layout>
              <c:dLblPos val="bestFit"/>
              <c:showVal val="1"/>
              <c:showCatName val="1"/>
              <c:showPercent val="1"/>
            </c:dLbl>
            <c:dLbl>
              <c:idx val="11"/>
              <c:layout>
                <c:manualLayout>
                  <c:x val="-0.18517976499112213"/>
                  <c:y val="4.8882137564089052E-2"/>
                </c:manualLayout>
              </c:layout>
              <c:dLblPos val="bestFit"/>
              <c:showVal val="1"/>
              <c:showCatName val="1"/>
              <c:showPercent val="1"/>
            </c:dLbl>
            <c:dLbl>
              <c:idx val="12"/>
              <c:layout>
                <c:manualLayout>
                  <c:x val="-0.15224879184880902"/>
                  <c:y val="-6.8304008588125714E-2"/>
                </c:manualLayout>
              </c:layout>
              <c:dLblPos val="bestFit"/>
              <c:showVal val="1"/>
              <c:showCatName val="1"/>
              <c:showPercent val="1"/>
            </c:dLbl>
            <c:dLbl>
              <c:idx val="13"/>
              <c:layout>
                <c:manualLayout>
                  <c:x val="2.3265351838003886E-4"/>
                  <c:y val="8.8049299117070157E-2"/>
                </c:manualLayout>
              </c:layout>
              <c:dLblPos val="bestFit"/>
              <c:showVal val="1"/>
              <c:showCatName val="1"/>
              <c:showPercent val="1"/>
            </c:dLbl>
            <c:dLbl>
              <c:idx val="14"/>
              <c:layout>
                <c:manualLayout>
                  <c:x val="-2.8683749337040418E-2"/>
                  <c:y val="7.1753517344246426E-2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Излом рычагов и </a:t>
                    </a:r>
                    <a:r>
                      <a:rPr lang="ru-RU" dirty="0" smtClean="0"/>
                      <a:t>тормозных</a:t>
                    </a:r>
                  </a:p>
                  <a:p>
                    <a:r>
                      <a:rPr lang="ru-RU" dirty="0" smtClean="0"/>
                      <a:t> </a:t>
                    </a:r>
                    <a:r>
                      <a:rPr lang="ru-RU" dirty="0"/>
                      <a:t>тяг ; 9; 6%</a:t>
                    </a:r>
                  </a:p>
                </c:rich>
              </c:tx>
              <c:dLblPos val="bestFit"/>
              <c:showVal val="1"/>
              <c:showCatName val="1"/>
              <c:showPercent val="1"/>
            </c:dLbl>
            <c:dLbl>
              <c:idx val="15"/>
              <c:layout>
                <c:manualLayout>
                  <c:x val="-6.6877921551704272E-2"/>
                  <c:y val="5.2583953041140011E-2"/>
                </c:manualLayout>
              </c:layout>
              <c:dLblPos val="bestFit"/>
              <c:showVal val="1"/>
              <c:showCatName val="1"/>
              <c:showPercent val="1"/>
            </c:dLbl>
            <c:dLbl>
              <c:idx val="18"/>
              <c:layout>
                <c:manualLayout>
                  <c:x val="-0.1962610314827565"/>
                  <c:y val="-2.4744196002635478E-2"/>
                </c:manualLayout>
              </c:layout>
              <c:dLblPos val="bestFit"/>
              <c:showVal val="1"/>
              <c:showCatName val="1"/>
              <c:showPercent val="1"/>
            </c:dLbl>
            <c:dLbl>
              <c:idx val="19"/>
              <c:layout>
                <c:manualLayout>
                  <c:x val="4.5569906411519187E-2"/>
                  <c:y val="-3.7961656202372615E-2"/>
                </c:manualLayout>
              </c:layout>
              <c:dLblPos val="bestFit"/>
              <c:showVal val="1"/>
              <c:showCatName val="1"/>
              <c:showPercent val="1"/>
            </c:dLbl>
            <c:dLbl>
              <c:idx val="20"/>
              <c:layout>
                <c:manualLayout>
                  <c:x val="-6.4099791476563361E-2"/>
                  <c:y val="6.4071540897303273E-3"/>
                </c:manualLayout>
              </c:layout>
              <c:dLblPos val="bestFit"/>
              <c:showVal val="1"/>
              <c:showCatName val="1"/>
              <c:showPercent val="1"/>
            </c:dLbl>
            <c:dLbl>
              <c:idx val="21"/>
              <c:layout>
                <c:manualLayout>
                  <c:x val="0.10555284240833041"/>
                  <c:y val="-6.4602372688812068E-2"/>
                </c:manualLayout>
              </c:layout>
              <c:dLblPos val="bestFit"/>
              <c:showVal val="1"/>
              <c:showCatName val="1"/>
              <c:showPercent val="1"/>
            </c:dLbl>
            <c:dLbl>
              <c:idx val="22"/>
              <c:layout>
                <c:manualLayout>
                  <c:x val="0.37290817721527342"/>
                  <c:y val="-7.7462652769025872E-3"/>
                </c:manualLayout>
              </c:layout>
              <c:dLblPos val="bestFit"/>
              <c:showVal val="1"/>
              <c:showCatName val="1"/>
              <c:showPercent val="1"/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chemeClr val="tx1"/>
                    </a:solidFill>
                    <a:effectLst/>
                  </a:defRPr>
                </a:pPr>
                <a:endParaRPr lang="ru-RU"/>
              </a:p>
            </c:txPr>
            <c:dLblPos val="bestFit"/>
            <c:showVal val="1"/>
            <c:showCatName val="1"/>
            <c:showPercent val="1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24</c:f>
              <c:strCache>
                <c:ptCount val="23"/>
                <c:pt idx="0">
                  <c:v>Выпадение валика подвески ТП</c:v>
                </c:pt>
                <c:pt idx="1">
                  <c:v>Излом тормозной колодки </c:v>
                </c:pt>
                <c:pt idx="2">
                  <c:v>Износ валика подвески ТП</c:v>
                </c:pt>
                <c:pt idx="3">
                  <c:v>Разрушение втулки подвески ТП</c:v>
                </c:pt>
                <c:pt idx="4">
                  <c:v>Излом подвески тормозного башмака </c:v>
                </c:pt>
                <c:pt idx="5">
                  <c:v>Ослабление крепления предохранительной скобы</c:v>
                </c:pt>
                <c:pt idx="6">
                  <c:v>Износ втулки ТП</c:v>
                </c:pt>
                <c:pt idx="7">
                  <c:v>Износ тормозной колодки </c:v>
                </c:pt>
                <c:pt idx="8">
                  <c:v>Выход тормозных колодок за обод колеса</c:v>
                </c:pt>
                <c:pt idx="9">
                  <c:v>Трещина тормозной колодки </c:v>
                </c:pt>
                <c:pt idx="10">
                  <c:v>Завар тормозного башмака </c:v>
                </c:pt>
                <c:pt idx="11">
                  <c:v>Трещина подвески тормозного башмака </c:v>
                </c:pt>
                <c:pt idx="12">
                  <c:v>Изгиб или излом триангеля </c:v>
                </c:pt>
                <c:pt idx="13">
                  <c:v>Неисправность авторегулятора РП </c:v>
                </c:pt>
                <c:pt idx="14">
                  <c:v>Излом рычагов и тормозных тяг </c:v>
                </c:pt>
                <c:pt idx="15">
                  <c:v>Разрегулирование РП </c:v>
                </c:pt>
                <c:pt idx="16">
                  <c:v>Износ втулок триангеля</c:v>
                </c:pt>
                <c:pt idx="17">
                  <c:v>Срыв корончатой гайки триангеля </c:v>
                </c:pt>
                <c:pt idx="18">
                  <c:v>Излом предохранительных скоб горизонтальных тяг тормозной РП</c:v>
                </c:pt>
                <c:pt idx="19">
                  <c:v>Неотрегулированность выхода штока тормозного цилиндра </c:v>
                </c:pt>
                <c:pt idx="20">
                  <c:v>Излом рычага РП </c:v>
                </c:pt>
                <c:pt idx="21">
                  <c:v>Неисправность тройника </c:v>
                </c:pt>
                <c:pt idx="22">
                  <c:v>Износ распорки триангеля скобой от равномерного износа</c:v>
                </c:pt>
              </c:strCache>
            </c:strRef>
          </c:cat>
          <c:val>
            <c:numRef>
              <c:f>Лист1!$B$2:$B$24</c:f>
              <c:numCache>
                <c:formatCode>General</c:formatCode>
                <c:ptCount val="23"/>
                <c:pt idx="0">
                  <c:v>16</c:v>
                </c:pt>
                <c:pt idx="1">
                  <c:v>11</c:v>
                </c:pt>
                <c:pt idx="2">
                  <c:v>9</c:v>
                </c:pt>
                <c:pt idx="3">
                  <c:v>7</c:v>
                </c:pt>
                <c:pt idx="4">
                  <c:v>5</c:v>
                </c:pt>
                <c:pt idx="5">
                  <c:v>4</c:v>
                </c:pt>
                <c:pt idx="6">
                  <c:v>4</c:v>
                </c:pt>
                <c:pt idx="7">
                  <c:v>3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32</c:v>
                </c:pt>
                <c:pt idx="13">
                  <c:v>12</c:v>
                </c:pt>
                <c:pt idx="14">
                  <c:v>9</c:v>
                </c:pt>
                <c:pt idx="15">
                  <c:v>5</c:v>
                </c:pt>
                <c:pt idx="16">
                  <c:v>5</c:v>
                </c:pt>
                <c:pt idx="17">
                  <c:v>4</c:v>
                </c:pt>
                <c:pt idx="18">
                  <c:v>4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1</c:v>
                </c:pt>
              </c:numCache>
            </c:numRef>
          </c:val>
        </c:ser>
        <c:dLbls>
          <c:showVal val="1"/>
        </c:dLbls>
      </c:pie3D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ln w="38100">
              <a:solidFill>
                <a:schemeClr val="bg1"/>
              </a:solidFill>
            </a:ln>
          </c:spPr>
          <c:explosion val="25"/>
          <c:dLbls>
            <c:dLbl>
              <c:idx val="0"/>
              <c:layout>
                <c:manualLayout>
                  <c:x val="-0.20899170847567064"/>
                  <c:y val="-6.412325928565051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>
                      <a:solidFill>
                        <a:schemeClr val="bg1"/>
                      </a:solidFill>
                      <a:effectLst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17637393226447229"/>
                  <c:y val="-0.1830805806610220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>
                      <a:solidFill>
                        <a:schemeClr val="bg1"/>
                      </a:solidFill>
                      <a:effectLst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5.4183151438086993E-3"/>
                  <c:y val="-2.183539581357607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>
                      <a:solidFill>
                        <a:schemeClr val="tx1"/>
                      </a:solidFill>
                      <a:effectLst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6.6049180894904885E-2"/>
                  <c:y val="-2.1056208011357935E-2"/>
                </c:manualLayout>
              </c:layout>
              <c:dLblPos val="bestFit"/>
              <c:showVal val="1"/>
              <c:showCatName val="1"/>
              <c:showPercent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effectLst/>
                  </a:defRPr>
                </a:pPr>
                <a:endParaRPr lang="ru-RU"/>
              </a:p>
            </c:txPr>
            <c:dLblPos val="bestFit"/>
            <c:showVal val="1"/>
            <c:showCatName val="1"/>
            <c:showPercent val="1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4"/>
                <c:pt idx="0">
                  <c:v>Неисправность концевого крана </c:v>
                </c:pt>
                <c:pt idx="1">
                  <c:v>Неисправность тройника воздухопровода ТМ</c:v>
                </c:pt>
                <c:pt idx="2">
                  <c:v>Неисправность соеденительной муфты</c:v>
                </c:pt>
                <c:pt idx="3">
                  <c:v>Неисправность разобщительного крана 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5</c:v>
                </c:pt>
                <c:pt idx="1">
                  <c:v>19</c:v>
                </c:pt>
                <c:pt idx="2">
                  <c:v>13</c:v>
                </c:pt>
                <c:pt idx="3">
                  <c:v>10</c:v>
                </c:pt>
              </c:numCache>
            </c:numRef>
          </c:val>
        </c:ser>
        <c:dLbls>
          <c:showVal val="1"/>
        </c:dLbls>
      </c:pie3D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5588</cdr:x>
      <cdr:y>0.82353</cdr:y>
    </cdr:from>
    <cdr:to>
      <cdr:x>0.38188</cdr:x>
      <cdr:y>0.9411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339752" y="2016223"/>
          <a:ext cx="1152144" cy="2880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79352</cdr:x>
      <cdr:y>0.01763</cdr:y>
    </cdr:from>
    <cdr:to>
      <cdr:x>0.99656</cdr:x>
      <cdr:y>0.1335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9635334" y="98175"/>
          <a:ext cx="2465416" cy="64550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600" b="1" dirty="0" smtClean="0">
              <a:latin typeface="RussianRail G Pro" panose="02000503040000020004" pitchFamily="50" charset="-52"/>
            </a:rPr>
            <a:t>Всего за 1-й квартал 2019 года – 547</a:t>
          </a:r>
          <a:endParaRPr lang="ru-RU" sz="1600" b="1" dirty="0">
            <a:latin typeface="RussianRail G Pro" panose="02000503040000020004" pitchFamily="50" charset="-52"/>
          </a:endParaRPr>
        </a:p>
      </cdr:txBody>
    </cdr:sp>
  </cdr:relSizeAnchor>
  <cdr:relSizeAnchor xmlns:cdr="http://schemas.openxmlformats.org/drawingml/2006/chartDrawing">
    <cdr:from>
      <cdr:x>0.53655</cdr:x>
      <cdr:y>0.16838</cdr:y>
    </cdr:from>
    <cdr:to>
      <cdr:x>0.56119</cdr:x>
      <cdr:y>0.18928</cdr:y>
    </cdr:to>
    <cdr:cxnSp macro="">
      <cdr:nvCxnSpPr>
        <cdr:cNvPr id="4" name="Прямая соединительная линия 3"/>
        <cdr:cNvCxnSpPr/>
      </cdr:nvCxnSpPr>
      <cdr:spPr>
        <a:xfrm xmlns:a="http://schemas.openxmlformats.org/drawingml/2006/main" flipV="1">
          <a:off x="6515026" y="937642"/>
          <a:ext cx="299258" cy="116377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3605</cdr:x>
      <cdr:y>0.8688</cdr:y>
    </cdr:from>
    <cdr:to>
      <cdr:x>0.23736</cdr:x>
      <cdr:y>0.9736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437731" y="4838007"/>
          <a:ext cx="2444411" cy="5836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600" b="1" dirty="0" smtClean="0">
              <a:latin typeface="RussianRail G Pro" panose="02000503040000020004" pitchFamily="50" charset="-52"/>
            </a:rPr>
            <a:t>Всего за 1-й квартал 2019 года – 143</a:t>
          </a:r>
          <a:endParaRPr lang="ru-RU" sz="1600" b="1" dirty="0">
            <a:latin typeface="RussianRail G Pro" panose="02000503040000020004" pitchFamily="50" charset="-52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143" cy="4943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4474" y="0"/>
            <a:ext cx="2918143" cy="4943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61D8CC-9342-4F05-945F-FF6BA7286EF4}" type="datetimeFigureOut">
              <a:rPr lang="ru-RU" smtClean="0"/>
              <a:pPr/>
              <a:t>08.05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11163" y="1231900"/>
            <a:ext cx="5911850" cy="33258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418" y="4742051"/>
            <a:ext cx="5387340" cy="387986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59223"/>
            <a:ext cx="2918143" cy="4943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4474" y="9359223"/>
            <a:ext cx="2918143" cy="4943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7A1674-C625-4B77-9C53-E2D53F8902A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214701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7A1674-C625-4B77-9C53-E2D53F8902AE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0990887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Текст 17"/>
          <p:cNvSpPr>
            <a:spLocks noGrp="1"/>
          </p:cNvSpPr>
          <p:nvPr>
            <p:ph type="body" sz="quarter" idx="12" hasCustomPrompt="1"/>
          </p:nvPr>
        </p:nvSpPr>
        <p:spPr>
          <a:xfrm>
            <a:off x="94132" y="57845"/>
            <a:ext cx="7684024" cy="1865541"/>
          </a:xfrm>
          <a:solidFill>
            <a:srgbClr val="F2F2F2"/>
          </a:solidFill>
        </p:spPr>
        <p:txBody>
          <a:bodyPr>
            <a:normAutofit/>
          </a:bodyPr>
          <a:lstStyle>
            <a:lvl1pPr marL="0" indent="0">
              <a:buNone/>
              <a:defRPr sz="2400">
                <a:latin typeface="RussianRail G Pro" panose="02000503040000020004" pitchFamily="50" charset="-52"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891B93CD-1F07-46A5-A864-67E5BAFAFDC8}"/>
              </a:ext>
            </a:extLst>
          </p:cNvPr>
          <p:cNvSpPr/>
          <p:nvPr userDrawn="1"/>
        </p:nvSpPr>
        <p:spPr>
          <a:xfrm>
            <a:off x="94132" y="1995055"/>
            <a:ext cx="7684024" cy="2476787"/>
          </a:xfrm>
          <a:prstGeom prst="rect">
            <a:avLst/>
          </a:prstGeom>
          <a:solidFill>
            <a:srgbClr val="273A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74" tIns="45688" rIns="91374" bIns="45688"/>
          <a:lstStyle/>
          <a:p>
            <a:pPr defTabSz="609459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>
                  <a:lumMod val="85000"/>
                  <a:lumOff val="15000"/>
                </a:prstClr>
              </a:solidFill>
              <a:latin typeface="RussianRail G Pro"/>
              <a:ea typeface="Verdana" panose="020B0604030504040204" pitchFamily="34" charset="0"/>
            </a:endParaRPr>
          </a:p>
        </p:txBody>
      </p:sp>
      <p:grpSp>
        <p:nvGrpSpPr>
          <p:cNvPr id="10" name="Группа 9"/>
          <p:cNvGrpSpPr/>
          <p:nvPr userDrawn="1"/>
        </p:nvGrpSpPr>
        <p:grpSpPr>
          <a:xfrm>
            <a:off x="11198005" y="274193"/>
            <a:ext cx="792200" cy="479847"/>
            <a:chOff x="8172400" y="171642"/>
            <a:chExt cx="792302" cy="479736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07" fontAlgn="base">
                <a:spcBef>
                  <a:spcPct val="0"/>
                </a:spcBef>
                <a:spcAft>
                  <a:spcPct val="0"/>
                </a:spcAft>
              </a:pPr>
              <a:endParaRPr lang="ru-RU" sz="1900" dirty="0">
                <a:solidFill>
                  <a:prstClr val="white"/>
                </a:solidFill>
              </a:endParaRPr>
            </a:p>
          </p:txBody>
        </p:sp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2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860484" y="61402"/>
            <a:ext cx="4146789" cy="4410440"/>
          </a:xfrm>
        </p:spPr>
        <p:txBody>
          <a:bodyPr anchor="b">
            <a:normAutofit/>
          </a:bodyPr>
          <a:lstStyle>
            <a:lvl1pPr algn="l">
              <a:defRPr sz="4400" b="1">
                <a:solidFill>
                  <a:schemeClr val="tx1">
                    <a:lumMod val="65000"/>
                    <a:lumOff val="35000"/>
                  </a:schemeClr>
                </a:solidFill>
                <a:latin typeface="RussianRail G Pro" panose="02000503040000020004" pitchFamily="50" charset="-52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94132" y="2033485"/>
            <a:ext cx="7684024" cy="1216129"/>
          </a:xfrm>
        </p:spPr>
        <p:txBody>
          <a:bodyPr>
            <a:norm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4800">
                <a:solidFill>
                  <a:schemeClr val="bg1"/>
                </a:solidFill>
                <a:latin typeface="RussianRail G Pro" panose="02000503040000020004" pitchFamily="50" charset="-5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Ф.И.О.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829453" y="1476501"/>
            <a:ext cx="1864743" cy="365125"/>
          </a:xfrm>
        </p:spPr>
        <p:txBody>
          <a:bodyPr/>
          <a:lstStyle>
            <a:lvl1pPr algn="r">
              <a:defRPr sz="2000">
                <a:solidFill>
                  <a:schemeClr val="tx1"/>
                </a:solidFill>
                <a:latin typeface="RussianRail G Pro" panose="02000503040000020004" pitchFamily="50" charset="-52"/>
              </a:defRPr>
            </a:lvl1pPr>
          </a:lstStyle>
          <a:p>
            <a:fld id="{6BE39F2B-13A8-4AFB-B396-B07AE514D129}" type="datetime1">
              <a:rPr lang="ru-RU" smtClean="0"/>
              <a:pPr/>
              <a:t>08.05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94132" y="3381390"/>
            <a:ext cx="7684024" cy="1086895"/>
          </a:xfrm>
        </p:spPr>
        <p:txBody>
          <a:bodyPr anchor="t"/>
          <a:lstStyle>
            <a:lvl1pPr algn="l">
              <a:defRPr sz="2000">
                <a:solidFill>
                  <a:schemeClr val="bg1"/>
                </a:solidFill>
                <a:latin typeface="RussianRail G Pro" panose="02000503040000020004" pitchFamily="50" charset="-52"/>
              </a:defRPr>
            </a:lvl1pPr>
          </a:lstStyle>
          <a:p>
            <a:endParaRPr lang="ru-RU" dirty="0"/>
          </a:p>
        </p:txBody>
      </p:sp>
      <p:sp>
        <p:nvSpPr>
          <p:cNvPr id="23" name="Текст 22"/>
          <p:cNvSpPr>
            <a:spLocks noGrp="1"/>
          </p:cNvSpPr>
          <p:nvPr>
            <p:ph type="body" sz="quarter" idx="13" hasCustomPrompt="1"/>
          </p:nvPr>
        </p:nvSpPr>
        <p:spPr>
          <a:xfrm>
            <a:off x="93663" y="1476501"/>
            <a:ext cx="5651830" cy="365125"/>
          </a:xfrm>
        </p:spPr>
        <p:txBody>
          <a:bodyPr anchor="ctr">
            <a:noAutofit/>
          </a:bodyPr>
          <a:lstStyle>
            <a:lvl1pPr marL="0" indent="0">
              <a:buNone/>
              <a:defRPr lang="ru-RU" sz="2000" smtClean="0">
                <a:latin typeface="RussianRail G Pro" panose="02000503040000020004" pitchFamily="50" charset="-52"/>
              </a:defRPr>
            </a:lvl1pPr>
            <a:lvl2pPr marL="457200" indent="0">
              <a:buNone/>
              <a:defRPr lang="ru-RU" sz="2000" smtClean="0">
                <a:latin typeface="RussianRail G Pro" panose="02000503040000020004" pitchFamily="50" charset="-52"/>
              </a:defRPr>
            </a:lvl2pPr>
            <a:lvl3pPr marL="914400" indent="0">
              <a:buNone/>
              <a:defRPr lang="ru-RU" sz="2000" smtClean="0">
                <a:latin typeface="RussianRail G Pro" panose="02000503040000020004" pitchFamily="50" charset="-52"/>
              </a:defRPr>
            </a:lvl3pPr>
            <a:lvl4pPr marL="1371600" indent="0">
              <a:buNone/>
              <a:defRPr lang="ru-RU" sz="2000" smtClean="0">
                <a:latin typeface="RussianRail G Pro" panose="02000503040000020004" pitchFamily="50" charset="-52"/>
              </a:defRPr>
            </a:lvl4pPr>
            <a:lvl5pPr marL="1828800" indent="0">
              <a:buNone/>
              <a:defRPr lang="ru-RU" sz="2000">
                <a:latin typeface="RussianRail G Pro" panose="02000503040000020004" pitchFamily="50" charset="-52"/>
              </a:defRPr>
            </a:lvl5pPr>
          </a:lstStyle>
          <a:p>
            <a:pPr lvl="0"/>
            <a:r>
              <a:rPr lang="ru-RU" dirty="0" smtClean="0"/>
              <a:t>Город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617237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hape 9"/>
          <p:cNvCxnSpPr>
            <a:cxnSpLocks/>
          </p:cNvCxnSpPr>
          <p:nvPr userDrawn="1"/>
        </p:nvCxnSpPr>
        <p:spPr>
          <a:xfrm flipH="1">
            <a:off x="1072760" y="680579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8" name="Группа 7"/>
          <p:cNvGrpSpPr/>
          <p:nvPr userDrawn="1"/>
        </p:nvGrpSpPr>
        <p:grpSpPr>
          <a:xfrm>
            <a:off x="214916" y="257203"/>
            <a:ext cx="792304" cy="486791"/>
            <a:chOff x="8172400" y="171642"/>
            <a:chExt cx="792302" cy="479736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07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2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11" name="Shape 9"/>
          <p:cNvCxnSpPr>
            <a:cxnSpLocks/>
          </p:cNvCxnSpPr>
          <p:nvPr userDrawn="1"/>
        </p:nvCxnSpPr>
        <p:spPr>
          <a:xfrm flipV="1">
            <a:off x="1089995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9995" y="180999"/>
            <a:ext cx="11012868" cy="651984"/>
          </a:xfrm>
        </p:spPr>
        <p:txBody>
          <a:bodyPr>
            <a:normAutofit/>
          </a:bodyPr>
          <a:lstStyle>
            <a:lvl1pPr>
              <a:defRPr sz="2000" b="1">
                <a:latin typeface="RussianRail G Pro" panose="02000503040000020004" pitchFamily="50" charset="-52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0238119" y="6484690"/>
            <a:ext cx="1864743" cy="236785"/>
          </a:xfrm>
        </p:spPr>
        <p:txBody>
          <a:bodyPr/>
          <a:lstStyle>
            <a:lvl1pPr algn="r">
              <a:defRPr b="1">
                <a:solidFill>
                  <a:schemeClr val="tx1">
                    <a:lumMod val="75000"/>
                    <a:lumOff val="25000"/>
                  </a:schemeClr>
                </a:solidFill>
                <a:latin typeface="RussianRail G Pro" panose="02000503040000020004" pitchFamily="50" charset="-52"/>
              </a:defRPr>
            </a:lvl1pPr>
          </a:lstStyle>
          <a:p>
            <a:fld id="{2A83A58A-D8EB-430E-9DE3-026D4C974EC1}" type="datetime1">
              <a:rPr lang="ru-RU" smtClean="0"/>
              <a:pPr/>
              <a:t>08.05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089995" y="6484690"/>
            <a:ext cx="9043906" cy="236785"/>
          </a:xfrm>
        </p:spPr>
        <p:txBody>
          <a:bodyPr/>
          <a:lstStyle>
            <a:lvl1pPr algn="l">
              <a:defRPr b="1">
                <a:solidFill>
                  <a:schemeClr val="tx1">
                    <a:lumMod val="75000"/>
                    <a:lumOff val="25000"/>
                  </a:schemeClr>
                </a:solidFill>
                <a:latin typeface="RussianRail G Pro" panose="02000503040000020004" pitchFamily="50" charset="-52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14916" y="6484690"/>
            <a:ext cx="766313" cy="236785"/>
          </a:xfrm>
        </p:spPr>
        <p:txBody>
          <a:bodyPr/>
          <a:lstStyle>
            <a:lvl1pPr>
              <a:defRPr b="1">
                <a:solidFill>
                  <a:schemeClr val="tx1">
                    <a:lumMod val="75000"/>
                    <a:lumOff val="25000"/>
                  </a:schemeClr>
                </a:solidFill>
                <a:latin typeface="RussianRail G Pro" panose="02000503040000020004" pitchFamily="50" charset="-52"/>
              </a:defRPr>
            </a:lvl1pPr>
          </a:lstStyle>
          <a:p>
            <a:fld id="{074DA5DC-5823-4FE5-A194-71908FB1540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3932111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s://img-fotki.yandex.ru/get/151986/51789170.1be/0_e9fe7_d1e8351f_XXXL.jpg">
            <a:extLst>
              <a:ext uri="{FF2B5EF4-FFF2-40B4-BE49-F238E27FC236}">
                <a16:creationId xmlns:a16="http://schemas.microsoft.com/office/drawing/2014/main" xmlns="" id="{75F5DE6F-B61C-48D1-9014-57F6C470723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0223" t="9479" r="16458"/>
          <a:stretch/>
        </p:blipFill>
        <p:spPr bwMode="auto">
          <a:xfrm>
            <a:off x="2" y="3"/>
            <a:ext cx="3030229" cy="6859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Группа 5"/>
          <p:cNvGrpSpPr/>
          <p:nvPr userDrawn="1"/>
        </p:nvGrpSpPr>
        <p:grpSpPr>
          <a:xfrm>
            <a:off x="4258690" y="261841"/>
            <a:ext cx="792304" cy="479736"/>
            <a:chOff x="8172400" y="171642"/>
            <a:chExt cx="792302" cy="479736"/>
          </a:xfrm>
        </p:grpSpPr>
        <p:sp>
          <p:nvSpPr>
            <p:cNvPr id="7" name="Прямоугольник 6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895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9" name="Shape 9"/>
          <p:cNvCxnSpPr>
            <a:cxnSpLocks/>
          </p:cNvCxnSpPr>
          <p:nvPr userDrawn="1"/>
        </p:nvCxnSpPr>
        <p:spPr>
          <a:xfrm flipV="1">
            <a:off x="4258690" y="844474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474D0D53-BA16-41FE-9901-6FA194B431E5}"/>
              </a:ext>
            </a:extLst>
          </p:cNvPr>
          <p:cNvSpPr txBox="1"/>
          <p:nvPr userDrawn="1"/>
        </p:nvSpPr>
        <p:spPr>
          <a:xfrm>
            <a:off x="5124451" y="2892556"/>
            <a:ext cx="3279320" cy="386397"/>
          </a:xfrm>
          <a:prstGeom prst="rect">
            <a:avLst/>
          </a:prstGeom>
          <a:noFill/>
        </p:spPr>
        <p:txBody>
          <a:bodyPr wrap="square" lIns="77682" tIns="38846" rIns="77682" bIns="38846" rtlCol="0">
            <a:spAutoFit/>
          </a:bodyPr>
          <a:lstStyle/>
          <a:p>
            <a:pPr defTabSz="1087887"/>
            <a:r>
              <a:rPr lang="ru-RU" sz="2000" b="1" dirty="0">
                <a:solidFill>
                  <a:srgbClr val="000000"/>
                </a:solidFill>
                <a:latin typeface="RussianRail G Pro" pitchFamily="50" charset="-52"/>
                <a:ea typeface="Verdana" panose="020B0604030504040204" pitchFamily="34" charset="0"/>
              </a:rPr>
              <a:t>Спасибо за внимание</a:t>
            </a:r>
          </a:p>
        </p:txBody>
      </p:sp>
      <p:sp>
        <p:nvSpPr>
          <p:cNvPr id="11" name="Text Box 7">
            <a:extLst>
              <a:ext uri="{FF2B5EF4-FFF2-40B4-BE49-F238E27FC236}">
                <a16:creationId xmlns:a16="http://schemas.microsoft.com/office/drawing/2014/main" xmlns="" id="{97F98B73-42D4-40B2-BC28-FE0FB091D52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051203" y="5849490"/>
            <a:ext cx="6983412" cy="784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150" tIns="45568" rIns="91150" bIns="45568">
            <a:spAutoFit/>
          </a:bodyPr>
          <a:lstStyle/>
          <a:p>
            <a:pPr defTabSz="1087887"/>
            <a:r>
              <a:rPr lang="ru-RU" sz="1500" dirty="0">
                <a:solidFill>
                  <a:srgbClr val="006600"/>
                </a:solidFill>
                <a:latin typeface="RussianRail G Pro" pitchFamily="50" charset="-52"/>
              </a:rPr>
              <a:t>Пожалуйста, не распечатывайте эту презентацию и прилагаемые файлы без необходимости. Давайте бережно расходовать бумагу!</a:t>
            </a:r>
          </a:p>
          <a:p>
            <a:pPr algn="r" defTabSz="1087887"/>
            <a:r>
              <a:rPr lang="ru-RU" sz="1500" dirty="0">
                <a:solidFill>
                  <a:srgbClr val="006600"/>
                </a:solidFill>
                <a:latin typeface="RussianRail G Pro" pitchFamily="50" charset="-52"/>
              </a:rPr>
              <a:t>«Человек, думающий о будущем».</a:t>
            </a:r>
          </a:p>
        </p:txBody>
      </p:sp>
    </p:spTree>
    <p:extLst>
      <p:ext uri="{BB962C8B-B14F-4D97-AF65-F5344CB8AC3E}">
        <p14:creationId xmlns:p14="http://schemas.microsoft.com/office/powerpoint/2010/main" xmlns="" val="3825515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5360" y="260648"/>
            <a:ext cx="11425269" cy="10944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325633" y="1806448"/>
            <a:ext cx="11373185" cy="4394179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xmlns="" val="3218517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9489056" y="6356350"/>
            <a:ext cx="18647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616533-8591-4E4D-B1E5-38C6C8D711A8}" type="datetime1">
              <a:rPr lang="ru-RU" smtClean="0"/>
              <a:pPr/>
              <a:t>08.05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38200" y="6356350"/>
            <a:ext cx="7663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4DA5DC-5823-4FE5-A194-71908FB1540F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7" name="Group 4"/>
          <p:cNvGrpSpPr>
            <a:grpSpLocks/>
          </p:cNvGrpSpPr>
          <p:nvPr userDrawn="1">
            <p:custDataLst>
              <p:tags r:id="rId6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8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9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0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1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2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352750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  <p:sldLayoutId id="2147483656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ru-RU" dirty="0" smtClean="0"/>
              <a:t>Секция «Вагонное хозяйство» Научно-технического Совета ОАО «РЖД»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pPr algn="ctr"/>
            <a:r>
              <a:rPr lang="ru-RU" sz="2800" dirty="0"/>
              <a:t>Анализ </a:t>
            </a:r>
            <a:r>
              <a:rPr lang="ru-RU" sz="2800" dirty="0" smtClean="0"/>
              <a:t>отказов </a:t>
            </a:r>
            <a:r>
              <a:rPr lang="ru-RU" sz="2800" dirty="0"/>
              <a:t>тормозного оборудования грузовых вагонов на сети ОАО «РЖД»</a:t>
            </a:r>
            <a:br>
              <a:rPr lang="ru-RU" sz="2800" dirty="0"/>
            </a:br>
            <a:r>
              <a:rPr lang="ru-RU" sz="2800" dirty="0"/>
              <a:t>за 1-й квартал </a:t>
            </a:r>
            <a:br>
              <a:rPr lang="ru-RU" sz="2800" dirty="0"/>
            </a:br>
            <a:r>
              <a:rPr lang="ru-RU" sz="2800" dirty="0"/>
              <a:t>2019 года</a:t>
            </a:r>
          </a:p>
        </p:txBody>
      </p:sp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>
          <a:xfrm>
            <a:off x="94132" y="2033485"/>
            <a:ext cx="7684024" cy="2421284"/>
          </a:xfrm>
        </p:spPr>
        <p:txBody>
          <a:bodyPr>
            <a:normAutofit/>
          </a:bodyPr>
          <a:lstStyle/>
          <a:p>
            <a:pPr algn="ctr"/>
            <a:endParaRPr lang="ru-RU" sz="2800" dirty="0" smtClean="0"/>
          </a:p>
          <a:p>
            <a:pPr algn="ctr"/>
            <a:endParaRPr lang="ru-RU" sz="2800" dirty="0"/>
          </a:p>
          <a:p>
            <a:pPr algn="ctr"/>
            <a:r>
              <a:rPr lang="ru-RU" sz="2800" dirty="0" smtClean="0"/>
              <a:t>Кузнецов Валерий Николаевич</a:t>
            </a:r>
          </a:p>
          <a:p>
            <a:pPr algn="ctr"/>
            <a:endParaRPr lang="ru-RU" sz="2000" dirty="0"/>
          </a:p>
          <a:p>
            <a:pPr algn="ctr"/>
            <a:r>
              <a:rPr lang="ru-RU" sz="2000" dirty="0" smtClean="0"/>
              <a:t>главный </a:t>
            </a:r>
            <a:r>
              <a:rPr lang="ru-RU" sz="2000" dirty="0" smtClean="0"/>
              <a:t>инженер</a:t>
            </a:r>
            <a:endParaRPr lang="ru-RU" sz="2000" dirty="0"/>
          </a:p>
          <a:p>
            <a:pPr algn="ctr"/>
            <a:endParaRPr lang="ru-RU" sz="2000" dirty="0"/>
          </a:p>
          <a:p>
            <a:pPr algn="ctr"/>
            <a:endParaRPr lang="ru-RU" sz="2000" dirty="0" smtClean="0"/>
          </a:p>
          <a:p>
            <a:pPr algn="r"/>
            <a:r>
              <a:rPr lang="ru-RU" sz="2000" dirty="0" smtClean="0"/>
              <a:t>8 мая</a:t>
            </a:r>
            <a:r>
              <a:rPr lang="ru-RU" sz="2000" dirty="0" smtClean="0"/>
              <a:t> </a:t>
            </a:r>
            <a:r>
              <a:rPr lang="ru-RU" sz="2000" dirty="0" smtClean="0"/>
              <a:t>2019г.</a:t>
            </a:r>
          </a:p>
          <a:p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7417" y="4602480"/>
            <a:ext cx="2945130" cy="196342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463289" y="4602480"/>
            <a:ext cx="4781551" cy="196043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8928990" y="4602480"/>
            <a:ext cx="2950590" cy="1963484"/>
          </a:xfrm>
          <a:prstGeom prst="rect">
            <a:avLst/>
          </a:prstGeom>
        </p:spPr>
      </p:pic>
      <p:sp>
        <p:nvSpPr>
          <p:cNvPr id="10" name="Текст 9"/>
          <p:cNvSpPr>
            <a:spLocks noGrp="1"/>
          </p:cNvSpPr>
          <p:nvPr>
            <p:ph type="body" sz="quarter" idx="13"/>
          </p:nvPr>
        </p:nvSpPr>
        <p:spPr>
          <a:xfrm>
            <a:off x="1234709" y="1468686"/>
            <a:ext cx="5651830" cy="365125"/>
          </a:xfrm>
        </p:spPr>
        <p:txBody>
          <a:bodyPr/>
          <a:lstStyle/>
          <a:p>
            <a:pPr algn="ctr"/>
            <a:r>
              <a:rPr lang="ru-RU" dirty="0" smtClean="0"/>
              <a:t>ПКБ ЦВ – филиал ОАО «РЖД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779139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eaLnBrk="1" hangingPunct="1"/>
            <a:r>
              <a:rPr lang="ru-RU" altLang="ru-RU" b="1" dirty="0">
                <a:latin typeface="RussianRail G Pro" panose="02000503040000020004" pitchFamily="50" charset="-52"/>
              </a:rPr>
              <a:t>Причины неисправности арматуры тормозного оборудования за </a:t>
            </a:r>
            <a:r>
              <a:rPr lang="ru-RU" altLang="ru-RU" b="1" dirty="0" smtClean="0">
                <a:latin typeface="RussianRail G Pro" panose="02000503040000020004" pitchFamily="50" charset="-52"/>
              </a:rPr>
              <a:t>1-й квартал 2019 года</a:t>
            </a:r>
            <a:endParaRPr lang="ru-RU" altLang="ru-RU" b="1" dirty="0">
              <a:latin typeface="RussianRail G Pro" panose="02000503040000020004" pitchFamily="50" charset="-52"/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xmlns="" val="1943528905"/>
              </p:ext>
            </p:extLst>
          </p:nvPr>
        </p:nvGraphicFramePr>
        <p:xfrm>
          <a:off x="2152" y="932723"/>
          <a:ext cx="12142520" cy="5568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1"/>
          <p:cNvSpPr txBox="1"/>
          <p:nvPr/>
        </p:nvSpPr>
        <p:spPr>
          <a:xfrm>
            <a:off x="9890760" y="832982"/>
            <a:ext cx="2301240" cy="637677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dirty="0" smtClean="0">
                <a:latin typeface="RussianRail G Pro" panose="02000503040000020004" pitchFamily="50" charset="-52"/>
              </a:rPr>
              <a:t>Всего за 1-й квартал 2019 года – 97</a:t>
            </a:r>
            <a:endParaRPr lang="ru-RU" sz="1600" b="1" dirty="0">
              <a:latin typeface="RussianRail G Pro" panose="02000503040000020004" pitchFamily="50" charset="-52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DA5DC-5823-4FE5-A194-71908FB1540F}" type="slidenum">
              <a:rPr lang="ru-RU" smtClean="0"/>
              <a:pPr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769737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eaLnBrk="1" hangingPunct="1"/>
            <a:r>
              <a:rPr lang="ru-RU" altLang="ru-RU" b="1" dirty="0" smtClean="0">
                <a:latin typeface="RussianRail G Pro" panose="02000503040000020004" pitchFamily="50" charset="-52"/>
              </a:rPr>
              <a:t>Причины неисправности авторежима за 1-й квартал 2019 года </a:t>
            </a:r>
            <a:endParaRPr lang="ru-RU" altLang="ru-RU" b="1" dirty="0">
              <a:latin typeface="RussianRail G Pro" panose="02000503040000020004" pitchFamily="50" charset="-52"/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xmlns="" val="3672936261"/>
              </p:ext>
            </p:extLst>
          </p:nvPr>
        </p:nvGraphicFramePr>
        <p:xfrm>
          <a:off x="2152" y="932723"/>
          <a:ext cx="12142520" cy="5568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1"/>
          <p:cNvSpPr txBox="1"/>
          <p:nvPr/>
        </p:nvSpPr>
        <p:spPr>
          <a:xfrm>
            <a:off x="9723120" y="832982"/>
            <a:ext cx="2468880" cy="599577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dirty="0" smtClean="0">
                <a:latin typeface="RussianRail G Pro" panose="02000503040000020004" pitchFamily="50" charset="-52"/>
              </a:rPr>
              <a:t>Всего за 1-й квартал 2019 года – 25</a:t>
            </a:r>
            <a:endParaRPr lang="ru-RU" sz="1600" b="1" dirty="0">
              <a:latin typeface="RussianRail G Pro" panose="02000503040000020004" pitchFamily="50" charset="-52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DA5DC-5823-4FE5-A194-71908FB1540F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222730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eaLnBrk="1" hangingPunct="1"/>
            <a:r>
              <a:rPr lang="ru-RU" altLang="ru-RU" b="1" dirty="0">
                <a:latin typeface="RussianRail G Pro" panose="02000503040000020004" pitchFamily="50" charset="-52"/>
              </a:rPr>
              <a:t>Причины неисправностей тормозного цилиндра </a:t>
            </a:r>
            <a:r>
              <a:rPr lang="ru-RU" altLang="ru-RU" b="1" dirty="0" smtClean="0">
                <a:latin typeface="RussianRail G Pro" panose="02000503040000020004" pitchFamily="50" charset="-52"/>
              </a:rPr>
              <a:t>за 1-й квартал 2019 года</a:t>
            </a:r>
            <a:endParaRPr lang="ru-RU" altLang="ru-RU" b="1" dirty="0">
              <a:latin typeface="RussianRail G Pro" panose="02000503040000020004" pitchFamily="50" charset="-52"/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xmlns="" val="3318163435"/>
              </p:ext>
            </p:extLst>
          </p:nvPr>
        </p:nvGraphicFramePr>
        <p:xfrm>
          <a:off x="2152" y="932723"/>
          <a:ext cx="12142520" cy="5568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1"/>
          <p:cNvSpPr txBox="1"/>
          <p:nvPr/>
        </p:nvSpPr>
        <p:spPr>
          <a:xfrm>
            <a:off x="9799320" y="832982"/>
            <a:ext cx="2392680" cy="622437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dirty="0" smtClean="0">
                <a:latin typeface="RussianRail G Pro" panose="02000503040000020004" pitchFamily="50" charset="-52"/>
              </a:rPr>
              <a:t>Всего за 1-й квартал 2019 года – 9</a:t>
            </a:r>
            <a:endParaRPr lang="ru-RU" sz="1600" b="1" dirty="0">
              <a:latin typeface="RussianRail G Pro" panose="02000503040000020004" pitchFamily="50" charset="-52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DA5DC-5823-4FE5-A194-71908FB1540F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591508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eaLnBrk="1" hangingPunct="1"/>
            <a:r>
              <a:rPr lang="ru-RU" altLang="ru-RU" b="1" dirty="0" smtClean="0">
                <a:latin typeface="RussianRail G Pro" panose="02000503040000020004" pitchFamily="50" charset="-52"/>
              </a:rPr>
              <a:t>Причины неисправности запасного резервуара за 1-й квартал 2019 года </a:t>
            </a:r>
            <a:endParaRPr lang="ru-RU" altLang="ru-RU" b="1" dirty="0">
              <a:latin typeface="RussianRail G Pro" panose="02000503040000020004" pitchFamily="50" charset="-52"/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xmlns="" val="586833406"/>
              </p:ext>
            </p:extLst>
          </p:nvPr>
        </p:nvGraphicFramePr>
        <p:xfrm>
          <a:off x="2152" y="932723"/>
          <a:ext cx="12142520" cy="5568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1"/>
          <p:cNvSpPr txBox="1"/>
          <p:nvPr/>
        </p:nvSpPr>
        <p:spPr>
          <a:xfrm>
            <a:off x="9822180" y="832982"/>
            <a:ext cx="2369820" cy="691017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dirty="0" smtClean="0">
                <a:latin typeface="RussianRail G Pro" panose="02000503040000020004" pitchFamily="50" charset="-52"/>
              </a:rPr>
              <a:t>Всего за 1-й квартал 2019 года – 7</a:t>
            </a:r>
            <a:endParaRPr lang="ru-RU" sz="1600" b="1" dirty="0">
              <a:latin typeface="RussianRail G Pro" panose="02000503040000020004" pitchFamily="50" charset="-52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DA5DC-5823-4FE5-A194-71908FB1540F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573120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309325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Title 2"/>
          <p:cNvSpPr>
            <a:spLocks noGrp="1"/>
          </p:cNvSpPr>
          <p:nvPr>
            <p:ph type="title"/>
          </p:nvPr>
        </p:nvSpPr>
        <p:spPr>
          <a:xfrm>
            <a:off x="1075481" y="173742"/>
            <a:ext cx="11012868" cy="651984"/>
          </a:xfrm>
        </p:spPr>
        <p:txBody>
          <a:bodyPr>
            <a:normAutofit/>
          </a:bodyPr>
          <a:lstStyle/>
          <a:p>
            <a:pPr algn="ctr" eaLnBrk="1" hangingPunct="1"/>
            <a:r>
              <a:rPr lang="ru-RU" altLang="ru-RU" b="1" dirty="0">
                <a:latin typeface="RussianRail G Pro" panose="02000503040000020004" pitchFamily="50" charset="-52"/>
              </a:rPr>
              <a:t>Количество отказов деталей и узлов грузового вагона </a:t>
            </a:r>
            <a:r>
              <a:rPr lang="ru-RU" altLang="ru-RU" b="1" dirty="0" smtClean="0">
                <a:latin typeface="RussianRail G Pro" panose="02000503040000020004" pitchFamily="50" charset="-52"/>
              </a:rPr>
              <a:t>1 и 2 категории за 1-й квартал 2019 года</a:t>
            </a:r>
            <a:endParaRPr lang="ru-RU" altLang="ru-RU" b="1" dirty="0">
              <a:latin typeface="RussianRail G Pro" panose="02000503040000020004" pitchFamily="50" charset="-52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2152" y="932723"/>
            <a:ext cx="12189848" cy="5568619"/>
            <a:chOff x="2152" y="932723"/>
            <a:chExt cx="12189848" cy="5568619"/>
          </a:xfrm>
        </p:grpSpPr>
        <p:graphicFrame>
          <p:nvGraphicFramePr>
            <p:cNvPr id="4" name="Диаграмма 3"/>
            <p:cNvGraphicFramePr/>
            <p:nvPr>
              <p:extLst>
                <p:ext uri="{D42A27DB-BD31-4B8C-83A1-F6EECF244321}">
                  <p14:modId xmlns:p14="http://schemas.microsoft.com/office/powerpoint/2010/main" xmlns="" val="4288912481"/>
                </p:ext>
              </p:extLst>
            </p:nvPr>
          </p:nvGraphicFramePr>
          <p:xfrm>
            <a:off x="2152" y="932723"/>
            <a:ext cx="12142520" cy="556861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5" name="TextBox 1"/>
            <p:cNvSpPr txBox="1"/>
            <p:nvPr/>
          </p:nvSpPr>
          <p:spPr>
            <a:xfrm>
              <a:off x="9799319" y="932723"/>
              <a:ext cx="2392681" cy="652237"/>
            </a:xfrm>
            <a:prstGeom prst="rect">
              <a:avLst/>
            </a:prstGeom>
          </p:spPr>
          <p:txBody>
            <a:bodyPr wrap="squar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latin typeface="RussianRail G Pro" panose="02000503040000020004" pitchFamily="50" charset="-52"/>
                </a:rPr>
                <a:t>Всего за 1-й квартал 2019 года – 2080</a:t>
              </a:r>
              <a:endParaRPr lang="ru-RU" sz="1600" b="1" dirty="0">
                <a:latin typeface="RussianRail G Pro" panose="02000503040000020004" pitchFamily="50" charset="-52"/>
              </a:endParaRPr>
            </a:p>
          </p:txBody>
        </p:sp>
      </p:grp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DA5DC-5823-4FE5-A194-71908FB1540F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326905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251999031"/>
              </p:ext>
            </p:extLst>
          </p:nvPr>
        </p:nvGraphicFramePr>
        <p:xfrm>
          <a:off x="1853924" y="937427"/>
          <a:ext cx="8569602" cy="4648303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519526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39321"/>
                <a:gridCol w="168415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5085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425542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9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Наименование узла, детали</a:t>
                      </a:r>
                      <a:endParaRPr lang="ru-RU" sz="1300" b="1" i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/>
                        <a:ea typeface="Times New Roman"/>
                      </a:endParaRPr>
                    </a:p>
                  </a:txBody>
                  <a:tcPr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300" i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/>
                          <a:ea typeface="Times New Roman"/>
                        </a:rPr>
                        <a:t>№ рис.</a:t>
                      </a:r>
                      <a:endParaRPr lang="ru-RU" sz="1300" i="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/>
                        <a:ea typeface="Times New Roman"/>
                      </a:endParaRPr>
                    </a:p>
                  </a:txBody>
                  <a:tcPr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90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2019</a:t>
                      </a:r>
                      <a:r>
                        <a:rPr lang="ru-RU" sz="1900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год</a:t>
                      </a:r>
                      <a:endParaRPr lang="ru-RU" sz="1300" i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/>
                        <a:ea typeface="Times New Roman"/>
                      </a:endParaRPr>
                    </a:p>
                  </a:txBody>
                  <a:tcPr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8133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300" b="1" i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/>
                        <a:ea typeface="Times New Roman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Количество отказов</a:t>
                      </a:r>
                      <a:endParaRPr lang="ru-RU" sz="1300" b="1" i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/>
                        <a:ea typeface="Times New Roman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9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%</a:t>
                      </a:r>
                      <a:endParaRPr lang="ru-RU" sz="1300" b="1" i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/>
                        <a:ea typeface="Times New Roman"/>
                      </a:endParaRPr>
                    </a:p>
                  </a:txBody>
                  <a:tcPr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04212"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Воздухораспределитель</a:t>
                      </a:r>
                    </a:p>
                  </a:txBody>
                  <a:tcPr marL="10160" marR="10160" marT="101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54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51,3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04212"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Тормозная магистраль</a:t>
                      </a:r>
                    </a:p>
                  </a:txBody>
                  <a:tcPr marL="10160" marR="10160" marT="101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22,0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04212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0" i="0" u="none" strike="noStrike" dirty="0" smtClean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Тормозная рычажная</a:t>
                      </a:r>
                      <a:r>
                        <a:rPr lang="ru-RU" sz="2400" b="0" i="0" u="none" strike="noStrike" baseline="0" dirty="0" smtClean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 передача</a:t>
                      </a:r>
                      <a:endParaRPr lang="ru-RU" sz="2400" b="0" i="0" u="none" strike="noStrike" dirty="0" smtClean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10160" marR="10160" marT="101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 smtClean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143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 smtClean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13,4%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425542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0" i="0" u="none" strike="noStrike" dirty="0" smtClean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Арматура</a:t>
                      </a:r>
                      <a:r>
                        <a:rPr lang="ru-RU" sz="2400" b="0" i="0" u="none" strike="noStrike" baseline="0" dirty="0" smtClean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 тормозного оборудования</a:t>
                      </a:r>
                      <a:endParaRPr lang="ru-RU" sz="2400" b="0" i="0" u="none" strike="noStrike" dirty="0" smtClean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10160" marR="10160" marT="101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9,1%</a:t>
                      </a:r>
                    </a:p>
                  </a:txBody>
                  <a:tcPr marL="7620" marR="7620" marT="7620" marB="0" anchor="b"/>
                </a:tc>
              </a:tr>
              <a:tr h="387098"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Авторежим </a:t>
                      </a:r>
                    </a:p>
                  </a:txBody>
                  <a:tcPr marL="10160" marR="10160" marT="101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2,3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8709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0" i="0" u="none" strike="noStrike" dirty="0" smtClean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Тормозной цилиндр</a:t>
                      </a:r>
                    </a:p>
                  </a:txBody>
                  <a:tcPr marL="10160" marR="10160" marT="101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0,8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04212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езервуары</a:t>
                      </a:r>
                    </a:p>
                  </a:txBody>
                  <a:tcPr marL="10160" marR="10160" marT="1016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0,7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404212"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 smtClean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Прочие</a:t>
                      </a:r>
                    </a:p>
                  </a:txBody>
                  <a:tcPr marL="10160" marR="10160" marT="1016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2000" b="0" i="0" u="none" strike="noStrike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0,4%</a:t>
                      </a:r>
                    </a:p>
                  </a:txBody>
                  <a:tcPr marL="7620" marR="7620" marT="7620" marB="0" anchor="b"/>
                </a:tc>
              </a:tr>
              <a:tr h="41633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4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Итого: </a:t>
                      </a:r>
                      <a:endParaRPr lang="ru-RU" sz="1500" b="1" i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/>
                        <a:ea typeface="Times New Roman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2400" b="1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 dirty="0" smtClean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1067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i="0" u="none" strike="noStrike" dirty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100,0%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</a:tbl>
          </a:graphicData>
        </a:graphic>
      </p:graphicFrame>
      <p:pic>
        <p:nvPicPr>
          <p:cNvPr id="10" name="Picture 2" descr="F:\новые  данные в альбом\483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205003">
            <a:off x="10992369" y="1066445"/>
            <a:ext cx="1306395" cy="137051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225425" dist="50800" dir="5220000" algn="ctr">
              <a:srgbClr val="000000">
                <a:alpha val="33000"/>
              </a:srgbClr>
            </a:outerShdw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  <a:extLst/>
        </p:spPr>
      </p:pic>
      <p:pic>
        <p:nvPicPr>
          <p:cNvPr id="11" name="Picture 2" descr="C:\Users\ШуваловаМЮ\Desktop\автор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049953" y="4746655"/>
            <a:ext cx="1191227" cy="157469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225425" dist="50800" dir="5220000" algn="ctr">
              <a:srgbClr val="000000">
                <a:alpha val="33000"/>
              </a:srgbClr>
            </a:outerShdw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  <a:extLst/>
        </p:spPr>
      </p:pic>
      <p:pic>
        <p:nvPicPr>
          <p:cNvPr id="12" name="Picture 2" descr="C:\Users\ШуваловаМЮ\Desktop\автор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0363" y="1028733"/>
            <a:ext cx="1303112" cy="163218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184150" dist="241300" dir="11520000" sx="110000" sy="110000" algn="ctr">
              <a:srgbClr val="000000">
                <a:alpha val="18000"/>
              </a:srgbClr>
            </a:outerShdw>
          </a:effectLst>
          <a:scene3d>
            <a:camera prst="perspectiveFront" fov="5100000">
              <a:rot lat="0" lon="2100000" rev="0"/>
            </a:camera>
            <a:lightRig rig="flood" dir="t">
              <a:rot lat="0" lon="0" rev="13800000"/>
            </a:lightRig>
          </a:scene3d>
          <a:sp3d extrusionH="107950" prstMaterial="plastic">
            <a:bevelT w="82550" h="63500" prst="divot"/>
            <a:bevelB/>
          </a:sp3d>
          <a:extLst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1062" y="196505"/>
            <a:ext cx="11012868" cy="651984"/>
          </a:xfrm>
        </p:spPr>
        <p:txBody>
          <a:bodyPr>
            <a:normAutofit fontScale="90000"/>
          </a:bodyPr>
          <a:lstStyle/>
          <a:p>
            <a:pPr algn="ctr"/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Статистика </a:t>
            </a:r>
            <a:r>
              <a:rPr lang="ru-RU" dirty="0"/>
              <a:t>отказов тормозного оборудования грузовых </a:t>
            </a:r>
            <a:r>
              <a:rPr lang="ru-RU" dirty="0" smtClean="0"/>
              <a:t>вагонов 1 и 2 категории </a:t>
            </a:r>
            <a:r>
              <a:rPr lang="ru-RU" dirty="0"/>
              <a:t>на сети ОАО «РЖД»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за 1-й квартал 2019 год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DA5DC-5823-4FE5-A194-71908FB1540F}" type="slidenum">
              <a:rPr lang="ru-RU" smtClean="0"/>
              <a:pPr/>
              <a:t>3</a:t>
            </a:fld>
            <a:endParaRPr lang="ru-RU" dirty="0"/>
          </a:p>
        </p:txBody>
      </p:sp>
      <p:pic>
        <p:nvPicPr>
          <p:cNvPr id="9" name="Picture 2" descr="F:\новые  данные в альбом\483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205003">
            <a:off x="75949" y="4848743"/>
            <a:ext cx="1306395" cy="137051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225425" dist="50800" dir="5220000" algn="ctr">
              <a:srgbClr val="000000">
                <a:alpha val="33000"/>
              </a:srgbClr>
            </a:outerShdw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xmlns="" val="896433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eaLnBrk="1" hangingPunct="1"/>
            <a:r>
              <a:rPr lang="ru-RU" altLang="ru-RU" b="1" dirty="0" smtClean="0">
                <a:latin typeface="RussianRail G Pro" panose="02000503040000020004" pitchFamily="50" charset="-52"/>
              </a:rPr>
              <a:t>Распределение отказов по неисправностям узлов и деталей тормозного оборудования за 1-й квартал 2019 года (рис.2)</a:t>
            </a:r>
            <a:endParaRPr lang="ru-RU" altLang="ru-RU" b="1" dirty="0">
              <a:latin typeface="RussianRail G Pro" panose="02000503040000020004" pitchFamily="50" charset="-52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2152" y="932723"/>
            <a:ext cx="12327177" cy="5568619"/>
            <a:chOff x="2152" y="932723"/>
            <a:chExt cx="12327177" cy="5568619"/>
          </a:xfrm>
        </p:grpSpPr>
        <p:graphicFrame>
          <p:nvGraphicFramePr>
            <p:cNvPr id="10" name="Диаграмма 9"/>
            <p:cNvGraphicFramePr/>
            <p:nvPr>
              <p:extLst>
                <p:ext uri="{D42A27DB-BD31-4B8C-83A1-F6EECF244321}">
                  <p14:modId xmlns:p14="http://schemas.microsoft.com/office/powerpoint/2010/main" xmlns="" val="2514538570"/>
                </p:ext>
              </p:extLst>
            </p:nvPr>
          </p:nvGraphicFramePr>
          <p:xfrm>
            <a:off x="2152" y="932723"/>
            <a:ext cx="12142520" cy="556861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1" name="TextBox 1"/>
            <p:cNvSpPr txBox="1"/>
            <p:nvPr/>
          </p:nvSpPr>
          <p:spPr>
            <a:xfrm>
              <a:off x="9791700" y="932724"/>
              <a:ext cx="2537629" cy="636996"/>
            </a:xfrm>
            <a:prstGeom prst="rect">
              <a:avLst/>
            </a:prstGeom>
          </p:spPr>
          <p:txBody>
            <a:bodyPr wrap="squar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latin typeface="RussianRail G Pro" panose="02000503040000020004" pitchFamily="50" charset="-52"/>
                </a:rPr>
                <a:t>Всего за 1-й квартал 2019 года – 1067</a:t>
              </a:r>
              <a:endParaRPr lang="ru-RU" sz="1600" b="1" dirty="0">
                <a:latin typeface="RussianRail G Pro" panose="02000503040000020004" pitchFamily="50" charset="-52"/>
              </a:endParaRP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DA5DC-5823-4FE5-A194-71908FB1540F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55602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Диаграмма 4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485478385"/>
              </p:ext>
            </p:extLst>
          </p:nvPr>
        </p:nvGraphicFramePr>
        <p:xfrm>
          <a:off x="0" y="832983"/>
          <a:ext cx="12172951" cy="55954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291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altLang="ru-RU" b="1" dirty="0">
                <a:latin typeface="RussianRail G Pro" panose="02000503040000020004" pitchFamily="50" charset="-52"/>
              </a:rPr>
              <a:t>Количество отказов по узлам и деталям тормозного оборудования </a:t>
            </a:r>
            <a:r>
              <a:rPr lang="ru-RU" altLang="ru-RU" b="1" dirty="0" smtClean="0">
                <a:latin typeface="RussianRail G Pro" panose="02000503040000020004" pitchFamily="50" charset="-52"/>
              </a:rPr>
              <a:t/>
            </a:r>
            <a:br>
              <a:rPr lang="ru-RU" altLang="ru-RU" b="1" dirty="0" smtClean="0">
                <a:latin typeface="RussianRail G Pro" panose="02000503040000020004" pitchFamily="50" charset="-52"/>
              </a:rPr>
            </a:br>
            <a:r>
              <a:rPr lang="ru-RU" altLang="ru-RU" b="1" dirty="0" smtClean="0">
                <a:latin typeface="RussianRail G Pro" panose="02000503040000020004" pitchFamily="50" charset="-52"/>
              </a:rPr>
              <a:t>за 1-й квартал </a:t>
            </a:r>
            <a:r>
              <a:rPr lang="ru-RU" altLang="ru-RU" dirty="0" smtClean="0"/>
              <a:t>2019 года в сравнении с 1-ым кварталом 2018 года</a:t>
            </a:r>
            <a:endParaRPr lang="ru-RU" altLang="ru-RU" b="1" dirty="0">
              <a:latin typeface="RussianRail G Pro" panose="02000503040000020004" pitchFamily="50" charset="-52"/>
            </a:endParaRPr>
          </a:p>
        </p:txBody>
      </p:sp>
      <p:sp>
        <p:nvSpPr>
          <p:cNvPr id="15" name=" 3"/>
          <p:cNvSpPr/>
          <p:nvPr/>
        </p:nvSpPr>
        <p:spPr>
          <a:xfrm rot="18400396" flipV="1">
            <a:off x="4372194" y="3437238"/>
            <a:ext cx="381215" cy="478343"/>
          </a:xfrm>
          <a:prstGeom prst="swooshArrow">
            <a:avLst>
              <a:gd name="adj1" fmla="val 25000"/>
              <a:gd name="adj2" fmla="val 25000"/>
            </a:avLst>
          </a:prstGeom>
          <a:solidFill>
            <a:srgbClr val="FF3300"/>
          </a:solidFill>
          <a:ln>
            <a:noFill/>
          </a:ln>
          <a:effectLst/>
          <a:scene3d>
            <a:camera prst="orthographicFront"/>
            <a:lightRig rig="flood" dir="t">
              <a:rot lat="0" lon="0" rev="2400000"/>
            </a:lightRig>
          </a:scene3d>
          <a:sp3d prstMaterial="dkEdge"/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121907" tIns="60955" rIns="121907" bIns="60955"/>
          <a:lstStyle>
            <a:lvl1pPr marL="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 sz="1467" dirty="0">
              <a:solidFill>
                <a:srgbClr val="C00000"/>
              </a:solidFill>
            </a:endParaRPr>
          </a:p>
        </p:txBody>
      </p:sp>
      <p:sp>
        <p:nvSpPr>
          <p:cNvPr id="16" name=" 3"/>
          <p:cNvSpPr/>
          <p:nvPr/>
        </p:nvSpPr>
        <p:spPr>
          <a:xfrm rot="18400396" flipV="1">
            <a:off x="3075271" y="3391547"/>
            <a:ext cx="381215" cy="478343"/>
          </a:xfrm>
          <a:prstGeom prst="swooshArrow">
            <a:avLst>
              <a:gd name="adj1" fmla="val 25000"/>
              <a:gd name="adj2" fmla="val 25000"/>
            </a:avLst>
          </a:prstGeom>
          <a:solidFill>
            <a:srgbClr val="FF3300"/>
          </a:solidFill>
          <a:ln>
            <a:noFill/>
          </a:ln>
          <a:effectLst/>
          <a:scene3d>
            <a:camera prst="orthographicFront"/>
            <a:lightRig rig="flood" dir="t">
              <a:rot lat="0" lon="0" rev="2400000"/>
            </a:lightRig>
          </a:scene3d>
          <a:sp3d prstMaterial="dkEdge"/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121907" tIns="60955" rIns="121907" bIns="60955"/>
          <a:lstStyle>
            <a:lvl1pPr marL="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 sz="1467" dirty="0">
              <a:solidFill>
                <a:srgbClr val="C00000"/>
              </a:solidFill>
            </a:endParaRPr>
          </a:p>
        </p:txBody>
      </p:sp>
      <p:sp>
        <p:nvSpPr>
          <p:cNvPr id="17" name=" 3"/>
          <p:cNvSpPr/>
          <p:nvPr/>
        </p:nvSpPr>
        <p:spPr>
          <a:xfrm rot="18400396" flipV="1">
            <a:off x="8194014" y="3838719"/>
            <a:ext cx="381215" cy="478343"/>
          </a:xfrm>
          <a:prstGeom prst="swooshArrow">
            <a:avLst>
              <a:gd name="adj1" fmla="val 25000"/>
              <a:gd name="adj2" fmla="val 25000"/>
            </a:avLst>
          </a:prstGeom>
          <a:solidFill>
            <a:srgbClr val="FF3300"/>
          </a:solidFill>
          <a:ln>
            <a:noFill/>
          </a:ln>
          <a:effectLst/>
          <a:scene3d>
            <a:camera prst="orthographicFront"/>
            <a:lightRig rig="flood" dir="t">
              <a:rot lat="0" lon="0" rev="2400000"/>
            </a:lightRig>
          </a:scene3d>
          <a:sp3d prstMaterial="dkEdge"/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121907" tIns="60955" rIns="121907" bIns="60955"/>
          <a:lstStyle>
            <a:lvl1pPr marL="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 sz="1467" dirty="0">
              <a:solidFill>
                <a:srgbClr val="C00000"/>
              </a:solidFill>
            </a:endParaRPr>
          </a:p>
        </p:txBody>
      </p:sp>
      <p:sp>
        <p:nvSpPr>
          <p:cNvPr id="18" name=" 3"/>
          <p:cNvSpPr/>
          <p:nvPr/>
        </p:nvSpPr>
        <p:spPr>
          <a:xfrm rot="18400396" flipV="1">
            <a:off x="484952" y="958935"/>
            <a:ext cx="381215" cy="478343"/>
          </a:xfrm>
          <a:prstGeom prst="swooshArrow">
            <a:avLst>
              <a:gd name="adj1" fmla="val 25000"/>
              <a:gd name="adj2" fmla="val 25000"/>
            </a:avLst>
          </a:prstGeom>
          <a:solidFill>
            <a:srgbClr val="FF3300"/>
          </a:solidFill>
          <a:ln>
            <a:noFill/>
          </a:ln>
          <a:effectLst/>
          <a:scene3d>
            <a:camera prst="orthographicFront"/>
            <a:lightRig rig="flood" dir="t">
              <a:rot lat="0" lon="0" rev="2400000"/>
            </a:lightRig>
          </a:scene3d>
          <a:sp3d prstMaterial="dkEdge"/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121907" tIns="60955" rIns="121907" bIns="60955"/>
          <a:lstStyle>
            <a:lvl1pPr marL="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 sz="1467" dirty="0">
              <a:solidFill>
                <a:srgbClr val="C00000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DA5DC-5823-4FE5-A194-71908FB1540F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13" name=" 3"/>
          <p:cNvSpPr/>
          <p:nvPr/>
        </p:nvSpPr>
        <p:spPr>
          <a:xfrm rot="18400396" flipV="1">
            <a:off x="9490936" y="3838720"/>
            <a:ext cx="381215" cy="478343"/>
          </a:xfrm>
          <a:prstGeom prst="swooshArrow">
            <a:avLst>
              <a:gd name="adj1" fmla="val 25000"/>
              <a:gd name="adj2" fmla="val 25000"/>
            </a:avLst>
          </a:prstGeom>
          <a:solidFill>
            <a:srgbClr val="FF3300"/>
          </a:solidFill>
          <a:ln>
            <a:noFill/>
          </a:ln>
          <a:effectLst/>
          <a:scene3d>
            <a:camera prst="orthographicFront"/>
            <a:lightRig rig="flood" dir="t">
              <a:rot lat="0" lon="0" rev="2400000"/>
            </a:lightRig>
          </a:scene3d>
          <a:sp3d prstMaterial="dkEdge"/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121907" tIns="60955" rIns="121907" bIns="60955"/>
          <a:lstStyle>
            <a:lvl1pPr marL="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 sz="1467" dirty="0">
              <a:solidFill>
                <a:srgbClr val="C00000"/>
              </a:solidFill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7358209" y="537390"/>
            <a:ext cx="2537972" cy="1943553"/>
            <a:chOff x="6451446" y="-137968"/>
            <a:chExt cx="996795" cy="1685703"/>
          </a:xfrm>
        </p:grpSpPr>
        <p:sp>
          <p:nvSpPr>
            <p:cNvPr id="19" name=" 3"/>
            <p:cNvSpPr/>
            <p:nvPr/>
          </p:nvSpPr>
          <p:spPr>
            <a:xfrm rot="3199604">
              <a:off x="6196601" y="296096"/>
              <a:ext cx="1685703" cy="817576"/>
            </a:xfrm>
            <a:prstGeom prst="swooshArrow">
              <a:avLst>
                <a:gd name="adj1" fmla="val 25000"/>
                <a:gd name="adj2" fmla="val 25000"/>
              </a:avLst>
            </a:prstGeom>
            <a:solidFill>
              <a:srgbClr val="92D050"/>
            </a:solidFill>
            <a:ln>
              <a:noFill/>
            </a:ln>
            <a:effectLst/>
            <a:scene3d>
              <a:camera prst="orthographicFront"/>
              <a:lightRig rig="flood" dir="t">
                <a:rot lat="0" lon="0" rev="2400000"/>
              </a:lightRig>
            </a:scene3d>
            <a:sp3d prstMaterial="dkEdge"/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121907" tIns="60955" rIns="121907" bIns="60955"/>
            <a:lstStyle>
              <a:lvl1pPr marL="0" indent="0">
                <a:defRPr sz="1100">
                  <a:solidFill>
                    <a:schemeClr val="dk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>
                      <a:hueOff val="0"/>
                      <a:satOff val="0"/>
                      <a:lumOff val="0"/>
                      <a:alphaOff val="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ru-RU" sz="1467" dirty="0">
                <a:solidFill>
                  <a:srgbClr val="C00000"/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 bwMode="auto">
            <a:xfrm>
              <a:off x="6451446" y="366771"/>
              <a:ext cx="891448" cy="6496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ru-RU" sz="4267" b="1" dirty="0" smtClean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</a:rPr>
                <a:t>-</a:t>
              </a:r>
              <a:r>
                <a:rPr lang="ru-RU" sz="4267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</a:rPr>
                <a:t>4</a:t>
              </a:r>
              <a:r>
                <a:rPr lang="ru-RU" sz="4267" b="1" dirty="0" smtClean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</a:rPr>
                <a:t>%</a:t>
              </a:r>
              <a:endParaRPr lang="ru-RU" sz="4267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416975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eaLnBrk="1" hangingPunct="1"/>
            <a:r>
              <a:rPr lang="ru-RU" altLang="ru-RU" b="1" dirty="0" smtClean="0">
                <a:latin typeface="RussianRail G Pro" panose="02000503040000020004" pitchFamily="50" charset="-52"/>
              </a:rPr>
              <a:t>Распределение отказов по неисправностям узлов и деталей тормозного оборудования за 1-й квартал 2019 года </a:t>
            </a:r>
            <a:endParaRPr lang="ru-RU" altLang="ru-RU" b="1" dirty="0">
              <a:latin typeface="RussianRail G Pro" panose="02000503040000020004" pitchFamily="50" charset="-52"/>
            </a:endParaRPr>
          </a:p>
        </p:txBody>
      </p:sp>
      <p:graphicFrame>
        <p:nvGraphicFramePr>
          <p:cNvPr id="3" name="Диаграмма 2"/>
          <p:cNvGraphicFramePr/>
          <p:nvPr>
            <p:extLst/>
          </p:nvPr>
        </p:nvGraphicFramePr>
        <p:xfrm>
          <a:off x="0" y="975784"/>
          <a:ext cx="12192000" cy="55255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xmlns="" val="13028110"/>
              </p:ext>
            </p:extLst>
          </p:nvPr>
        </p:nvGraphicFramePr>
        <p:xfrm>
          <a:off x="8" y="975784"/>
          <a:ext cx="11615928" cy="55255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67013127"/>
              </p:ext>
            </p:extLst>
          </p:nvPr>
        </p:nvGraphicFramePr>
        <p:xfrm>
          <a:off x="11657360" y="4715011"/>
          <a:ext cx="346968" cy="1769679"/>
        </p:xfrm>
        <a:graphic>
          <a:graphicData uri="http://schemas.openxmlformats.org/drawingml/2006/table">
            <a:tbl>
              <a:tblPr>
                <a:tableStyleId>{B301B821-A1FF-4177-AEE7-76D212191A09}</a:tableStyleId>
              </a:tblPr>
              <a:tblGrid>
                <a:gridCol w="346968"/>
              </a:tblGrid>
              <a:tr h="196631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196631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196631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196631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196631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196631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196631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196631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  <a:tr h="196631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DA5DC-5823-4FE5-A194-71908FB1540F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850425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eaLnBrk="1" hangingPunct="1"/>
            <a:r>
              <a:rPr lang="ru-RU" altLang="ru-RU" b="1" dirty="0">
                <a:latin typeface="RussianRail G Pro" panose="02000503040000020004" pitchFamily="50" charset="-52"/>
              </a:rPr>
              <a:t>Причины неисправности воздухораспределителей </a:t>
            </a:r>
            <a:r>
              <a:rPr lang="ru-RU" altLang="ru-RU" b="1" dirty="0" smtClean="0">
                <a:latin typeface="RussianRail G Pro" panose="02000503040000020004" pitchFamily="50" charset="-52"/>
              </a:rPr>
              <a:t>за 1-й квартал 2019 года</a:t>
            </a:r>
            <a:endParaRPr lang="ru-RU" altLang="ru-RU" b="1" dirty="0">
              <a:latin typeface="RussianRail G Pro" panose="02000503040000020004" pitchFamily="50" charset="-52"/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xmlns="" val="171703678"/>
              </p:ext>
            </p:extLst>
          </p:nvPr>
        </p:nvGraphicFramePr>
        <p:xfrm>
          <a:off x="2152" y="932723"/>
          <a:ext cx="12142520" cy="5568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DA5DC-5823-4FE5-A194-71908FB1540F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789139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eaLnBrk="1" hangingPunct="1"/>
            <a:r>
              <a:rPr lang="ru-RU" altLang="ru-RU" b="1" dirty="0">
                <a:latin typeface="RussianRail G Pro" panose="02000503040000020004" pitchFamily="50" charset="-52"/>
              </a:rPr>
              <a:t>Причины неисправностей тормозной магистрали </a:t>
            </a:r>
            <a:r>
              <a:rPr lang="ru-RU" altLang="ru-RU" b="1" dirty="0" smtClean="0">
                <a:latin typeface="RussianRail G Pro" panose="02000503040000020004" pitchFamily="50" charset="-52"/>
              </a:rPr>
              <a:t>за 1-й квартал 2019 года</a:t>
            </a:r>
            <a:endParaRPr lang="ru-RU" altLang="ru-RU" b="1" dirty="0">
              <a:latin typeface="RussianRail G Pro" panose="02000503040000020004" pitchFamily="50" charset="-52"/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xmlns="" val="946078458"/>
              </p:ext>
            </p:extLst>
          </p:nvPr>
        </p:nvGraphicFramePr>
        <p:xfrm>
          <a:off x="2152" y="932723"/>
          <a:ext cx="12142520" cy="5568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1"/>
          <p:cNvSpPr txBox="1"/>
          <p:nvPr/>
        </p:nvSpPr>
        <p:spPr>
          <a:xfrm>
            <a:off x="9578340" y="932722"/>
            <a:ext cx="2420203" cy="568417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dirty="0" smtClean="0">
                <a:latin typeface="RussianRail G Pro" panose="02000503040000020004" pitchFamily="50" charset="-52"/>
              </a:rPr>
              <a:t>Всего за 1-й квартал 2019 года – 235</a:t>
            </a:r>
            <a:endParaRPr lang="ru-RU" sz="1600" b="1" dirty="0">
              <a:latin typeface="RussianRail G Pro" panose="02000503040000020004" pitchFamily="50" charset="-52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DA5DC-5823-4FE5-A194-71908FB1540F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350512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eaLnBrk="1" hangingPunct="1"/>
            <a:r>
              <a:rPr lang="ru-RU" altLang="ru-RU" b="1" dirty="0">
                <a:latin typeface="RussianRail G Pro" panose="02000503040000020004" pitchFamily="50" charset="-52"/>
              </a:rPr>
              <a:t>Причины неисправности </a:t>
            </a:r>
            <a:r>
              <a:rPr lang="ru-RU" altLang="ru-RU" b="1" dirty="0" smtClean="0">
                <a:latin typeface="RussianRail G Pro" panose="02000503040000020004" pitchFamily="50" charset="-52"/>
              </a:rPr>
              <a:t>тормозной рычажной передачи за 1-й квартал 2019 года</a:t>
            </a:r>
            <a:endParaRPr lang="ru-RU" altLang="ru-RU" b="1" dirty="0">
              <a:latin typeface="RussianRail G Pro" panose="02000503040000020004" pitchFamily="50" charset="-52"/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xmlns="" val="3038217042"/>
              </p:ext>
            </p:extLst>
          </p:nvPr>
        </p:nvGraphicFramePr>
        <p:xfrm>
          <a:off x="49480" y="916097"/>
          <a:ext cx="12142520" cy="5568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DA5DC-5823-4FE5-A194-71908FB1540F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770410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173</TotalTime>
  <Words>1054</Words>
  <Application>Microsoft Office PowerPoint</Application>
  <PresentationFormat>Произвольный</PresentationFormat>
  <Paragraphs>179</Paragraphs>
  <Slides>14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5" baseType="lpstr">
      <vt:lpstr>Тема Office</vt:lpstr>
      <vt:lpstr>Анализ отказов тормозного оборудования грузовых вагонов на сети ОАО «РЖД» за 1-й квартал  2019 года</vt:lpstr>
      <vt:lpstr>Количество отказов деталей и узлов грузового вагона 1 и 2 категории за 1-й квартал 2019 года</vt:lpstr>
      <vt:lpstr> Статистика отказов тормозного оборудования грузовых вагонов 1 и 2 категории на сети ОАО «РЖД»  за 1-й квартал 2019 года </vt:lpstr>
      <vt:lpstr>Распределение отказов по неисправностям узлов и деталей тормозного оборудования за 1-й квартал 2019 года (рис.2)</vt:lpstr>
      <vt:lpstr>Количество отказов по узлам и деталям тормозного оборудования  за 1-й квартал 2019 года в сравнении с 1-ым кварталом 2018 года</vt:lpstr>
      <vt:lpstr>Распределение отказов по неисправностям узлов и деталей тормозного оборудования за 1-й квартал 2019 года </vt:lpstr>
      <vt:lpstr>Причины неисправности воздухораспределителей за 1-й квартал 2019 года</vt:lpstr>
      <vt:lpstr>Причины неисправностей тормозной магистрали за 1-й квартал 2019 года</vt:lpstr>
      <vt:lpstr>Причины неисправности тормозной рычажной передачи за 1-й квартал 2019 года</vt:lpstr>
      <vt:lpstr>Причины неисправности арматуры тормозного оборудования за 1-й квартал 2019 года</vt:lpstr>
      <vt:lpstr>Причины неисправности авторежима за 1-й квартал 2019 года </vt:lpstr>
      <vt:lpstr>Причины неисправностей тормозного цилиндра за 1-й квартал 2019 года</vt:lpstr>
      <vt:lpstr>Причины неисправности запасного резервуара за 1-й квартал 2019 года </vt:lpstr>
      <vt:lpstr>Слайд 1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акаровАС</dc:creator>
  <cp:lastModifiedBy>Кириллова Светлана Сергеевна</cp:lastModifiedBy>
  <cp:revision>202</cp:revision>
  <cp:lastPrinted>2019-04-26T14:29:11Z</cp:lastPrinted>
  <dcterms:created xsi:type="dcterms:W3CDTF">2018-11-21T07:30:38Z</dcterms:created>
  <dcterms:modified xsi:type="dcterms:W3CDTF">2019-05-08T07:53:30Z</dcterms:modified>
</cp:coreProperties>
</file>